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1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2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1"/>
  </p:notesMasterIdLst>
  <p:sldIdLst>
    <p:sldId id="266" r:id="rId3"/>
    <p:sldId id="269" r:id="rId4"/>
    <p:sldId id="270" r:id="rId5"/>
    <p:sldId id="278" r:id="rId6"/>
    <p:sldId id="281" r:id="rId7"/>
    <p:sldId id="280" r:id="rId8"/>
    <p:sldId id="279" r:id="rId9"/>
    <p:sldId id="268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9EAD"/>
    <a:srgbClr val="2F3D52"/>
    <a:srgbClr val="FFFFFF"/>
    <a:srgbClr val="0060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01" autoAdjust="0"/>
    <p:restoredTop sz="95642" autoAdjust="0"/>
  </p:normalViewPr>
  <p:slideViewPr>
    <p:cSldViewPr snapToGrid="0">
      <p:cViewPr varScale="1">
        <p:scale>
          <a:sx n="82" d="100"/>
          <a:sy n="82" d="100"/>
        </p:scale>
        <p:origin x="4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agul\Desktop\PROJECT%20HOTEL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agul\Desktop\PROJECT%20HOTEL.xlsx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agul\Desktop\PROJECT%20HOTEL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agul\Desktop\PROJECT%20HOTEL.xlsx" TargetMode="Externa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agul\Desktop\PROJECT%20HOTEL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agul\Desktop\PROJECT%20HOTEL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'SLIDE 1'!$B$2</c:f>
              <c:strCache>
                <c:ptCount val="1"/>
                <c:pt idx="0">
                  <c:v>total_revenue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</a:ln>
              <a:effectLst/>
            </c:spPr>
          </c:marker>
          <c:xVal>
            <c:numRef>
              <c:f>'SLIDE 1'!$A$3:$A$5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xVal>
          <c:yVal>
            <c:numRef>
              <c:f>'SLIDE 1'!$B$3:$B$5</c:f>
              <c:numCache>
                <c:formatCode>General</c:formatCode>
                <c:ptCount val="3"/>
                <c:pt idx="0">
                  <c:v>8435759.5390007999</c:v>
                </c:pt>
                <c:pt idx="1">
                  <c:v>31742142.730997</c:v>
                </c:pt>
                <c:pt idx="2">
                  <c:v>20590034.437499698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13370736"/>
        <c:axId val="1213371280"/>
      </c:scatterChart>
      <c:valAx>
        <c:axId val="121337073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 b="1"/>
                  <a:t>YEA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3371280"/>
        <c:crosses val="autoZero"/>
        <c:crossBetween val="midCat"/>
      </c:valAx>
      <c:valAx>
        <c:axId val="12133712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33707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SLIDE 7 FAMILY'!$B$11</c:f>
              <c:strCache>
                <c:ptCount val="1"/>
                <c:pt idx="0">
                  <c:v>cancellation_rate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shade val="76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chemeClr val="accent6">
                  <a:tint val="77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Lbls>
            <c:dLbl>
              <c:idx val="0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spc="0" baseline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511DC09-5C1B-424E-B487-99565CF3BB0F}" type="CATEGORYNAME">
                      <a:rPr lang="en-US" sz="1400" smtClean="0"/>
                      <a:pPr>
                        <a:defRPr sz="1400">
                          <a:solidFill>
                            <a:schemeClr val="accent6">
                              <a:lumMod val="75000"/>
                            </a:schemeClr>
                          </a:solidFill>
                        </a:defRPr>
                      </a:pPr>
                      <a:t>[CATEGORY NAME]</a:t>
                    </a:fld>
                    <a:r>
                      <a:rPr lang="en-US" sz="1400" dirty="0" smtClean="0"/>
                      <a:t> </a:t>
                    </a:r>
                  </a:p>
                  <a:p>
                    <a:pPr>
                      <a:defRPr sz="1400">
                        <a:solidFill>
                          <a:schemeClr val="accent6">
                            <a:lumMod val="75000"/>
                          </a:schemeClr>
                        </a:solidFill>
                      </a:defRPr>
                    </a:pPr>
                    <a:r>
                      <a:rPr lang="en-US" sz="1400" dirty="0" smtClean="0"/>
                      <a:t>47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spc="0" baseline="0">
                      <a:solidFill>
                        <a:schemeClr val="accent6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spc="0" baseline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6B784C6-BDF9-4BF4-B19C-B8C0BA39AD43}" type="CATEGORYNAME">
                      <a:rPr lang="en-US" sz="1400" smtClean="0"/>
                      <a:pPr>
                        <a:defRPr sz="1400">
                          <a:solidFill>
                            <a:schemeClr val="accent6">
                              <a:lumMod val="75000"/>
                            </a:schemeClr>
                          </a:solidFill>
                        </a:defRPr>
                      </a:pPr>
                      <a:t>[CATEGORY NAME]</a:t>
                    </a:fld>
                    <a:r>
                      <a:rPr lang="en-US" sz="1400" dirty="0" smtClean="0"/>
                      <a:t> 53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spc="0" baseline="0">
                      <a:solidFill>
                        <a:schemeClr val="accent6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spc="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LIDE 7 FAMILY'!$A$12:$A$13</c:f>
              <c:strCache>
                <c:ptCount val="2"/>
                <c:pt idx="0">
                  <c:v>With Kids</c:v>
                </c:pt>
                <c:pt idx="1">
                  <c:v>Without Kids</c:v>
                </c:pt>
              </c:strCache>
            </c:strRef>
          </c:cat>
          <c:val>
            <c:numRef>
              <c:f>'SLIDE 7 FAMILY'!$B$12:$B$13</c:f>
              <c:numCache>
                <c:formatCode>General</c:formatCode>
                <c:ptCount val="2"/>
                <c:pt idx="0">
                  <c:v>0.33639999999999998</c:v>
                </c:pt>
                <c:pt idx="1">
                  <c:v>0.37509999999999999</c:v>
                </c:pt>
              </c:numCache>
            </c:numRef>
          </c:val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/>
              <a:t>FOR 2020</a:t>
            </a:r>
          </a:p>
        </c:rich>
      </c:tx>
      <c:layout>
        <c:manualLayout>
          <c:xMode val="edge"/>
          <c:yMode val="edge"/>
          <c:x val="0.40585640521375521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SLIDE 2'!$D$3</c:f>
              <c:strCache>
                <c:ptCount val="1"/>
                <c:pt idx="0">
                  <c:v>total_revenue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shade val="6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accent6">
                  <a:tint val="6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spc="0" baseline="0">
                      <a:solidFill>
                        <a:schemeClr val="accent6">
                          <a:shade val="6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400" b="1" i="0" u="none" strike="noStrike" kern="1200" spc="0" baseline="0">
                      <a:solidFill>
                        <a:srgbClr val="70AD47">
                          <a:shade val="6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400" b="1" i="0" u="none" strike="noStrike" kern="1200" spc="0" baseline="0" dirty="0">
                      <a:solidFill>
                        <a:srgbClr val="70AD47">
                          <a:shade val="6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spc="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LIDE 2'!$C$4:$C$6</c:f>
              <c:strCache>
                <c:ptCount val="3"/>
                <c:pt idx="0">
                  <c:v>Online TA</c:v>
                </c:pt>
                <c:pt idx="1">
                  <c:v>Offline TA/TO</c:v>
                </c:pt>
                <c:pt idx="2">
                  <c:v>Direct</c:v>
                </c:pt>
              </c:strCache>
            </c:strRef>
          </c:cat>
          <c:val>
            <c:numRef>
              <c:f>'SLIDE 2'!$D$4:$D$6</c:f>
              <c:numCache>
                <c:formatCode>General</c:formatCode>
                <c:ptCount val="3"/>
                <c:pt idx="0">
                  <c:v>12923228.5340004</c:v>
                </c:pt>
                <c:pt idx="1">
                  <c:v>2790828.31399997</c:v>
                </c:pt>
                <c:pt idx="2">
                  <c:v>2494412.5649999902</c:v>
                </c:pt>
              </c:numCache>
            </c:numRef>
          </c:val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FOR 2019</a:t>
            </a:r>
          </a:p>
        </c:rich>
      </c:tx>
      <c:layout>
        <c:manualLayout>
          <c:xMode val="edge"/>
          <c:yMode val="edge"/>
          <c:x val="0.35133444437142819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SLIDE 2'!$D$30</c:f>
              <c:strCache>
                <c:ptCount val="1"/>
                <c:pt idx="0">
                  <c:v>total_revenue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shade val="65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accent6">
                  <a:tint val="65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1.3937445319335082E-2"/>
                  <c:y val="8.2424176144648587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6.8038057742782409E-3"/>
                  <c:y val="3.483048993875765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0168853893263342E-2"/>
                  <c:y val="3.152631962671332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IN" sz="1400" b="1" i="0" u="none" strike="noStrike" kern="1200" spc="0" baseline="0">
                    <a:solidFill>
                      <a:srgbClr val="70AD47">
                        <a:shade val="6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LIDE 2'!$C$31:$C$33</c:f>
              <c:strCache>
                <c:ptCount val="3"/>
                <c:pt idx="0">
                  <c:v>Online TA</c:v>
                </c:pt>
                <c:pt idx="1">
                  <c:v>Offline TA/TO</c:v>
                </c:pt>
                <c:pt idx="2">
                  <c:v>Groups</c:v>
                </c:pt>
              </c:strCache>
            </c:strRef>
          </c:cat>
          <c:val>
            <c:numRef>
              <c:f>'SLIDE 2'!$D$31:$D$33</c:f>
              <c:numCache>
                <c:formatCode>General</c:formatCode>
                <c:ptCount val="3"/>
                <c:pt idx="0">
                  <c:v>16070066.5980004</c:v>
                </c:pt>
                <c:pt idx="1">
                  <c:v>7227526.5170008801</c:v>
                </c:pt>
                <c:pt idx="2">
                  <c:v>3985930.7889999999</c:v>
                </c:pt>
              </c:numCache>
            </c:numRef>
          </c:val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/>
              <a:t>For 2018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SLIDE 2'!$D$47</c:f>
              <c:strCache>
                <c:ptCount val="1"/>
                <c:pt idx="0">
                  <c:v>total_revenue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shade val="65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accent6">
                  <a:tint val="65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1.1480533683289385E-2"/>
                  <c:y val="5.9195100612423446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Online</a:t>
                    </a:r>
                    <a:r>
                      <a:rPr lang="en-US" baseline="0"/>
                      <a:t> TA</a:t>
                    </a:r>
                  </a:p>
                  <a:p>
                    <a:fld id="{AD7053A6-7887-4295-8D2F-0A7A3032EE15}" type="PERCENTAGE">
                      <a:rPr lang="en-US"/>
                      <a:pPr/>
                      <a:t>[PERCENTAGE]</a:t>
                    </a:fld>
                    <a:endParaRPr lang="en-IN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6.7160761154855697E-2"/>
                  <c:y val="-5.003827646544181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Groups</a:t>
                    </a:r>
                  </a:p>
                  <a:p>
                    <a:fld id="{65BBC0B4-A85C-4616-9062-189C805D2BFC}" type="PERCENTAGE">
                      <a:rPr lang="en-US"/>
                      <a:pPr/>
                      <a:t>[PERCENTAGE]</a:t>
                    </a:fld>
                    <a:endParaRPr lang="en-IN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4.5250437445319383E-2"/>
                  <c:y val="4.9088655584718574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Offline</a:t>
                    </a:r>
                  </a:p>
                  <a:p>
                    <a:r>
                      <a:rPr lang="en-US"/>
                      <a:t> TA/TO</a:t>
                    </a:r>
                  </a:p>
                  <a:p>
                    <a:fld id="{4D609DE9-48C3-4A56-A7C4-F352B95CFDA6}" type="PERCENTAGE">
                      <a:rPr lang="en-US"/>
                      <a:pPr/>
                      <a:t>[PERCENTAGE]</a:t>
                    </a:fld>
                    <a:endParaRPr lang="en-IN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IN" sz="1400" b="1" i="0" u="none" strike="noStrike" kern="1200" spc="0" baseline="0">
                    <a:solidFill>
                      <a:srgbClr val="70AD47">
                        <a:shade val="6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LIDE 2'!$C$48:$C$50</c:f>
              <c:strCache>
                <c:ptCount val="3"/>
                <c:pt idx="0">
                  <c:v>Online TA</c:v>
                </c:pt>
                <c:pt idx="1">
                  <c:v>Offline TA/TO</c:v>
                </c:pt>
                <c:pt idx="2">
                  <c:v>Groups</c:v>
                </c:pt>
              </c:strCache>
            </c:strRef>
          </c:cat>
          <c:val>
            <c:numRef>
              <c:f>'SLIDE 2'!$D$48:$D$50</c:f>
              <c:numCache>
                <c:formatCode>General</c:formatCode>
                <c:ptCount val="3"/>
                <c:pt idx="0">
                  <c:v>2949445.3610000401</c:v>
                </c:pt>
                <c:pt idx="1">
                  <c:v>2317522.1560000102</c:v>
                </c:pt>
                <c:pt idx="2">
                  <c:v>1725971.82699992</c:v>
                </c:pt>
              </c:numCache>
            </c:numRef>
          </c:val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u="none" strike="noStrike" kern="1200" spc="0" baseline="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Occupancy by month</a:t>
            </a:r>
            <a:endParaRPr lang="en-US" sz="1400" b="1" i="0" u="none" strike="noStrike" kern="1200" spc="0" baseline="0" dirty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LIDE 5 OCCUPANCY'!$L$8</c:f>
              <c:strCache>
                <c:ptCount val="1"/>
                <c:pt idx="0">
                  <c:v>occupancy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SLIDE 5 OCCUPANCY'!$K$9:$K$34</c:f>
              <c:strCache>
                <c:ptCount val="26"/>
                <c:pt idx="0">
                  <c:v>October</c:v>
                </c:pt>
                <c:pt idx="1">
                  <c:v>September</c:v>
                </c:pt>
                <c:pt idx="2">
                  <c:v>August</c:v>
                </c:pt>
                <c:pt idx="3">
                  <c:v>December</c:v>
                </c:pt>
                <c:pt idx="4">
                  <c:v>November</c:v>
                </c:pt>
                <c:pt idx="5">
                  <c:v>July</c:v>
                </c:pt>
                <c:pt idx="6">
                  <c:v>October</c:v>
                </c:pt>
                <c:pt idx="7">
                  <c:v>September</c:v>
                </c:pt>
                <c:pt idx="8">
                  <c:v>August</c:v>
                </c:pt>
                <c:pt idx="9">
                  <c:v>November</c:v>
                </c:pt>
                <c:pt idx="10">
                  <c:v>July</c:v>
                </c:pt>
                <c:pt idx="11">
                  <c:v>December</c:v>
                </c:pt>
                <c:pt idx="12">
                  <c:v>May</c:v>
                </c:pt>
                <c:pt idx="13">
                  <c:v>April</c:v>
                </c:pt>
                <c:pt idx="14">
                  <c:v>March</c:v>
                </c:pt>
                <c:pt idx="15">
                  <c:v>June</c:v>
                </c:pt>
                <c:pt idx="16">
                  <c:v>February</c:v>
                </c:pt>
                <c:pt idx="17">
                  <c:v>January</c:v>
                </c:pt>
                <c:pt idx="18">
                  <c:v>May</c:v>
                </c:pt>
                <c:pt idx="19">
                  <c:v>July</c:v>
                </c:pt>
                <c:pt idx="20">
                  <c:v>March</c:v>
                </c:pt>
                <c:pt idx="21">
                  <c:v>June</c:v>
                </c:pt>
                <c:pt idx="22">
                  <c:v>April</c:v>
                </c:pt>
                <c:pt idx="23">
                  <c:v>August</c:v>
                </c:pt>
                <c:pt idx="24">
                  <c:v>February</c:v>
                </c:pt>
                <c:pt idx="25">
                  <c:v>January</c:v>
                </c:pt>
              </c:strCache>
            </c:strRef>
          </c:cat>
          <c:val>
            <c:numRef>
              <c:f>'SLIDE 5 OCCUPANCY'!$L$9:$L$34</c:f>
              <c:numCache>
                <c:formatCode>General</c:formatCode>
                <c:ptCount val="26"/>
                <c:pt idx="0">
                  <c:v>3225</c:v>
                </c:pt>
                <c:pt idx="1">
                  <c:v>3020</c:v>
                </c:pt>
                <c:pt idx="2">
                  <c:v>2291</c:v>
                </c:pt>
                <c:pt idx="3">
                  <c:v>1947</c:v>
                </c:pt>
                <c:pt idx="4">
                  <c:v>1854</c:v>
                </c:pt>
                <c:pt idx="5">
                  <c:v>1517</c:v>
                </c:pt>
                <c:pt idx="6">
                  <c:v>6916</c:v>
                </c:pt>
                <c:pt idx="7">
                  <c:v>6392</c:v>
                </c:pt>
                <c:pt idx="8">
                  <c:v>5530</c:v>
                </c:pt>
                <c:pt idx="9">
                  <c:v>4672</c:v>
                </c:pt>
                <c:pt idx="10">
                  <c:v>4590</c:v>
                </c:pt>
                <c:pt idx="11">
                  <c:v>4494</c:v>
                </c:pt>
                <c:pt idx="12">
                  <c:v>3563</c:v>
                </c:pt>
                <c:pt idx="13">
                  <c:v>3367</c:v>
                </c:pt>
                <c:pt idx="14">
                  <c:v>3347</c:v>
                </c:pt>
                <c:pt idx="15">
                  <c:v>3196</c:v>
                </c:pt>
                <c:pt idx="16">
                  <c:v>2554</c:v>
                </c:pt>
                <c:pt idx="17">
                  <c:v>1691</c:v>
                </c:pt>
                <c:pt idx="18">
                  <c:v>3551</c:v>
                </c:pt>
                <c:pt idx="19">
                  <c:v>3329</c:v>
                </c:pt>
                <c:pt idx="20">
                  <c:v>3298</c:v>
                </c:pt>
                <c:pt idx="21">
                  <c:v>3208</c:v>
                </c:pt>
                <c:pt idx="22">
                  <c:v>3198</c:v>
                </c:pt>
                <c:pt idx="23">
                  <c:v>3109</c:v>
                </c:pt>
                <c:pt idx="24">
                  <c:v>2818</c:v>
                </c:pt>
                <c:pt idx="25">
                  <c:v>243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94452656"/>
        <c:axId val="1294453200"/>
      </c:lineChart>
      <c:catAx>
        <c:axId val="129445265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dirty="0" smtClean="0"/>
                  <a:t>2018</a:t>
                </a:r>
                <a:endParaRPr lang="en-IN" dirty="0"/>
              </a:p>
            </c:rich>
          </c:tx>
          <c:layout>
            <c:manualLayout>
              <c:xMode val="edge"/>
              <c:yMode val="edge"/>
              <c:x val="4.4055555555555556E-2"/>
              <c:y val="0.9129592478859883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4453200"/>
        <c:crosses val="autoZero"/>
        <c:auto val="1"/>
        <c:lblAlgn val="ctr"/>
        <c:lblOffset val="100"/>
        <c:noMultiLvlLbl val="0"/>
      </c:catAx>
      <c:valAx>
        <c:axId val="12944532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294452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1600" b="1" i="0" u="none" strike="noStrike" kern="120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i="0" u="none" strike="noStrike" kern="1200" baseline="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Occupancy by year</a:t>
            </a:r>
            <a:endParaRPr lang="en-US" sz="1600" b="1" i="0" u="none" strike="noStrike" kern="1200" baseline="0" dirty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1600" b="1" i="0" u="none" strike="noStrike" kern="1200" baseline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LIDE 5 OCCUPANCY'!$D$42</c:f>
              <c:strCache>
                <c:ptCount val="1"/>
                <c:pt idx="0">
                  <c:v>occupancy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numRef>
              <c:f>'SLIDE 5 OCCUPANCY'!$C$43:$C$45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'SLIDE 5 OCCUPANCY'!$D$43:$D$45</c:f>
              <c:numCache>
                <c:formatCode>General</c:formatCode>
                <c:ptCount val="3"/>
                <c:pt idx="0">
                  <c:v>13854</c:v>
                </c:pt>
                <c:pt idx="1">
                  <c:v>50312</c:v>
                </c:pt>
                <c:pt idx="2">
                  <c:v>2494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294459728"/>
        <c:axId val="1294462448"/>
      </c:barChart>
      <c:catAx>
        <c:axId val="1294459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IN"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4462448"/>
        <c:crosses val="autoZero"/>
        <c:auto val="1"/>
        <c:lblAlgn val="ctr"/>
        <c:lblOffset val="100"/>
        <c:noMultiLvlLbl val="0"/>
      </c:catAx>
      <c:valAx>
        <c:axId val="12944624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IN"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4459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 smtClean="0"/>
              <a:t>Cancel</a:t>
            </a:r>
            <a:r>
              <a:rPr lang="en-US" b="1" baseline="0" dirty="0" smtClean="0"/>
              <a:t> </a:t>
            </a:r>
            <a:r>
              <a:rPr lang="en-US" b="1" dirty="0" smtClean="0"/>
              <a:t>count by month</a:t>
            </a:r>
            <a:endParaRPr lang="en-US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LIDE 6 CANCEL COUNT'!$K$3</c:f>
              <c:strCache>
                <c:ptCount val="1"/>
                <c:pt idx="0">
                  <c:v>cancel_count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SLIDE 6 CANCEL COUNT'!$J$4:$J$29</c:f>
              <c:strCache>
                <c:ptCount val="26"/>
                <c:pt idx="0">
                  <c:v>November</c:v>
                </c:pt>
                <c:pt idx="1">
                  <c:v>December</c:v>
                </c:pt>
                <c:pt idx="2">
                  <c:v>July</c:v>
                </c:pt>
                <c:pt idx="3">
                  <c:v>August</c:v>
                </c:pt>
                <c:pt idx="4">
                  <c:v>October</c:v>
                </c:pt>
                <c:pt idx="5">
                  <c:v>September</c:v>
                </c:pt>
                <c:pt idx="6">
                  <c:v>January</c:v>
                </c:pt>
                <c:pt idx="7">
                  <c:v>March</c:v>
                </c:pt>
                <c:pt idx="8">
                  <c:v>February</c:v>
                </c:pt>
                <c:pt idx="9">
                  <c:v>May</c:v>
                </c:pt>
                <c:pt idx="10">
                  <c:v>April</c:v>
                </c:pt>
                <c:pt idx="11">
                  <c:v>June</c:v>
                </c:pt>
                <c:pt idx="12">
                  <c:v>November</c:v>
                </c:pt>
                <c:pt idx="13">
                  <c:v>December</c:v>
                </c:pt>
                <c:pt idx="14">
                  <c:v>July</c:v>
                </c:pt>
                <c:pt idx="15">
                  <c:v>August</c:v>
                </c:pt>
                <c:pt idx="16">
                  <c:v>September</c:v>
                </c:pt>
                <c:pt idx="17">
                  <c:v>October</c:v>
                </c:pt>
                <c:pt idx="18">
                  <c:v>January</c:v>
                </c:pt>
                <c:pt idx="19">
                  <c:v>February</c:v>
                </c:pt>
                <c:pt idx="20">
                  <c:v>March</c:v>
                </c:pt>
                <c:pt idx="21">
                  <c:v>August</c:v>
                </c:pt>
                <c:pt idx="22">
                  <c:v>July</c:v>
                </c:pt>
                <c:pt idx="23">
                  <c:v>June</c:v>
                </c:pt>
                <c:pt idx="24">
                  <c:v>April</c:v>
                </c:pt>
                <c:pt idx="25">
                  <c:v>May</c:v>
                </c:pt>
              </c:strCache>
            </c:strRef>
          </c:cat>
          <c:val>
            <c:numRef>
              <c:f>'SLIDE 6 CANCEL COUNT'!$K$4:$K$29</c:f>
              <c:numCache>
                <c:formatCode>General</c:formatCode>
                <c:ptCount val="26"/>
                <c:pt idx="0">
                  <c:v>486</c:v>
                </c:pt>
                <c:pt idx="1">
                  <c:v>973</c:v>
                </c:pt>
                <c:pt idx="2">
                  <c:v>1259</c:v>
                </c:pt>
                <c:pt idx="3">
                  <c:v>1598</c:v>
                </c:pt>
                <c:pt idx="4">
                  <c:v>1732</c:v>
                </c:pt>
                <c:pt idx="5">
                  <c:v>2094</c:v>
                </c:pt>
                <c:pt idx="6">
                  <c:v>638</c:v>
                </c:pt>
                <c:pt idx="7">
                  <c:v>1493</c:v>
                </c:pt>
                <c:pt idx="8">
                  <c:v>1641</c:v>
                </c:pt>
                <c:pt idx="9">
                  <c:v>1915</c:v>
                </c:pt>
                <c:pt idx="10">
                  <c:v>2061</c:v>
                </c:pt>
                <c:pt idx="11">
                  <c:v>2096</c:v>
                </c:pt>
                <c:pt idx="12">
                  <c:v>2137</c:v>
                </c:pt>
                <c:pt idx="13">
                  <c:v>2398</c:v>
                </c:pt>
                <c:pt idx="14">
                  <c:v>2767</c:v>
                </c:pt>
                <c:pt idx="15">
                  <c:v>3428</c:v>
                </c:pt>
                <c:pt idx="16">
                  <c:v>4124</c:v>
                </c:pt>
                <c:pt idx="17">
                  <c:v>4254</c:v>
                </c:pt>
                <c:pt idx="18">
                  <c:v>1250</c:v>
                </c:pt>
                <c:pt idx="19">
                  <c:v>1359</c:v>
                </c:pt>
                <c:pt idx="20">
                  <c:v>1672</c:v>
                </c:pt>
                <c:pt idx="21">
                  <c:v>1816</c:v>
                </c:pt>
                <c:pt idx="22">
                  <c:v>1984</c:v>
                </c:pt>
                <c:pt idx="23">
                  <c:v>2439</c:v>
                </c:pt>
                <c:pt idx="24">
                  <c:v>2463</c:v>
                </c:pt>
                <c:pt idx="25">
                  <c:v>276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57834016"/>
        <c:axId val="1457837280"/>
      </c:lineChart>
      <c:catAx>
        <c:axId val="14578340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dirty="0" smtClean="0"/>
                  <a:t>2018</a:t>
                </a:r>
                <a:endParaRPr lang="en-IN" dirty="0"/>
              </a:p>
            </c:rich>
          </c:tx>
          <c:layout>
            <c:manualLayout>
              <c:xMode val="edge"/>
              <c:yMode val="edge"/>
              <c:x val="4.4055555555555591E-2"/>
              <c:y val="0.8925692621755614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7837280"/>
        <c:crosses val="autoZero"/>
        <c:auto val="1"/>
        <c:lblAlgn val="ctr"/>
        <c:lblOffset val="100"/>
        <c:noMultiLvlLbl val="0"/>
      </c:catAx>
      <c:valAx>
        <c:axId val="14578372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457834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/>
              <a:t>Cancel</a:t>
            </a:r>
            <a:r>
              <a:rPr lang="en-US" baseline="0" dirty="0" smtClean="0"/>
              <a:t> </a:t>
            </a:r>
            <a:r>
              <a:rPr lang="en-US" dirty="0" smtClean="0"/>
              <a:t>count by</a:t>
            </a:r>
            <a:r>
              <a:rPr lang="en-US" baseline="0" dirty="0" smtClean="0"/>
              <a:t> year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LIDE 6 CANCEL COUNT'!$C$41</c:f>
              <c:strCache>
                <c:ptCount val="1"/>
                <c:pt idx="0">
                  <c:v>cancel_count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numRef>
              <c:f>'SLIDE 6 CANCEL COUNT'!$B$42:$B$4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'SLIDE 6 CANCEL COUNT'!$C$42:$C$44</c:f>
              <c:numCache>
                <c:formatCode>General</c:formatCode>
                <c:ptCount val="3"/>
                <c:pt idx="0">
                  <c:v>8142</c:v>
                </c:pt>
                <c:pt idx="1">
                  <c:v>28952</c:v>
                </c:pt>
                <c:pt idx="2">
                  <c:v>157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457826400"/>
        <c:axId val="1457832928"/>
      </c:barChart>
      <c:catAx>
        <c:axId val="1457826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7832928"/>
        <c:crosses val="autoZero"/>
        <c:auto val="1"/>
        <c:lblAlgn val="ctr"/>
        <c:lblOffset val="100"/>
        <c:noMultiLvlLbl val="0"/>
      </c:catAx>
      <c:valAx>
        <c:axId val="14578329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7826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LIDE 7 FAMILY'!$B$3</c:f>
              <c:strCache>
                <c:ptCount val="1"/>
                <c:pt idx="0">
                  <c:v>total_bookings</c:v>
                </c:pt>
              </c:strCache>
            </c:strRef>
          </c:tx>
          <c:spPr>
            <a:solidFill>
              <a:schemeClr val="accent6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SLIDE 7 FAMILY'!$A$4:$A$5</c:f>
              <c:strCache>
                <c:ptCount val="2"/>
                <c:pt idx="0">
                  <c:v>With Kids</c:v>
                </c:pt>
                <c:pt idx="1">
                  <c:v>Without Kids</c:v>
                </c:pt>
              </c:strCache>
            </c:strRef>
          </c:cat>
          <c:val>
            <c:numRef>
              <c:f>'SLIDE 7 FAMILY'!$B$4:$B$5</c:f>
              <c:numCache>
                <c:formatCode>General</c:formatCode>
                <c:ptCount val="2"/>
                <c:pt idx="0">
                  <c:v>10462</c:v>
                </c:pt>
                <c:pt idx="1">
                  <c:v>131485</c:v>
                </c:pt>
              </c:numCache>
            </c:numRef>
          </c:val>
        </c:ser>
        <c:ser>
          <c:idx val="1"/>
          <c:order val="1"/>
          <c:tx>
            <c:strRef>
              <c:f>'SLIDE 7 FAMILY'!$C$3</c:f>
              <c:strCache>
                <c:ptCount val="1"/>
                <c:pt idx="0">
                  <c:v>canceled_bookings</c:v>
                </c:pt>
              </c:strCache>
            </c:strRef>
          </c:tx>
          <c:spPr>
            <a:solidFill>
              <a:schemeClr val="accent6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SLIDE 7 FAMILY'!$A$4:$A$5</c:f>
              <c:strCache>
                <c:ptCount val="2"/>
                <c:pt idx="0">
                  <c:v>With Kids</c:v>
                </c:pt>
                <c:pt idx="1">
                  <c:v>Without Kids</c:v>
                </c:pt>
              </c:strCache>
            </c:strRef>
          </c:cat>
          <c:val>
            <c:numRef>
              <c:f>'SLIDE 7 FAMILY'!$C$4:$C$5</c:f>
              <c:numCache>
                <c:formatCode>General</c:formatCode>
                <c:ptCount val="2"/>
                <c:pt idx="0">
                  <c:v>3519</c:v>
                </c:pt>
                <c:pt idx="1">
                  <c:v>4932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1457830752"/>
        <c:axId val="1457835648"/>
      </c:barChart>
      <c:catAx>
        <c:axId val="14578307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7835648"/>
        <c:crosses val="autoZero"/>
        <c:auto val="1"/>
        <c:lblAlgn val="ctr"/>
        <c:lblOffset val="100"/>
        <c:noMultiLvlLbl val="0"/>
      </c:catAx>
      <c:valAx>
        <c:axId val="14578356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457830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3.7088449624929666E-2"/>
          <c:w val="0.62031339263577701"/>
          <c:h val="5.215599732885286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654</cdr:x>
      <cdr:y>0.90818</cdr:y>
    </cdr:from>
    <cdr:to>
      <cdr:x>0.36471</cdr:x>
      <cdr:y>0.9847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172918" y="2809908"/>
          <a:ext cx="494523" cy="2369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IN" sz="1000" kern="1200" dirty="0">
              <a:solidFill>
                <a:prstClr val="black">
                  <a:lumMod val="65000"/>
                  <a:lumOff val="35000"/>
                </a:prstClr>
              </a:solidFill>
            </a:rPr>
            <a:t>2019</a:t>
          </a:r>
        </a:p>
      </cdr:txBody>
    </cdr:sp>
  </cdr:relSizeAnchor>
  <cdr:relSizeAnchor xmlns:cdr="http://schemas.openxmlformats.org/drawingml/2006/chartDrawing">
    <cdr:from>
      <cdr:x>0.68258</cdr:x>
      <cdr:y>0.90818</cdr:y>
    </cdr:from>
    <cdr:to>
      <cdr:x>0.79075</cdr:x>
      <cdr:y>0.98475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120777" y="2809908"/>
          <a:ext cx="494523" cy="2369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IN" sz="1000" kern="1200" dirty="0" smtClean="0">
              <a:solidFill>
                <a:prstClr val="black">
                  <a:lumMod val="65000"/>
                  <a:lumOff val="35000"/>
                </a:prstClr>
              </a:solidFill>
            </a:rPr>
            <a:t>2020</a:t>
          </a:r>
          <a:endParaRPr lang="en-IN" sz="1000" kern="1200" dirty="0">
            <a:solidFill>
              <a:prstClr val="black">
                <a:lumMod val="65000"/>
                <a:lumOff val="35000"/>
              </a:prstClr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5966</cdr:x>
      <cdr:y>0.8906</cdr:y>
    </cdr:from>
    <cdr:to>
      <cdr:x>0.36782</cdr:x>
      <cdr:y>0.9769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187170" y="2443092"/>
          <a:ext cx="494523" cy="2369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IN" sz="1000" kern="1200" dirty="0">
              <a:solidFill>
                <a:prstClr val="black">
                  <a:lumMod val="65000"/>
                  <a:lumOff val="35000"/>
                </a:prstClr>
              </a:solidFill>
            </a:rPr>
            <a:t>2019</a:t>
          </a:r>
        </a:p>
      </cdr:txBody>
    </cdr:sp>
  </cdr:relSizeAnchor>
  <cdr:relSizeAnchor xmlns:cdr="http://schemas.openxmlformats.org/drawingml/2006/chartDrawing">
    <cdr:from>
      <cdr:x>0.69031</cdr:x>
      <cdr:y>0.89297</cdr:y>
    </cdr:from>
    <cdr:to>
      <cdr:x>0.79848</cdr:x>
      <cdr:y>0.97933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156109" y="2449604"/>
          <a:ext cx="494523" cy="2369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IN" sz="1000" kern="1200" dirty="0">
              <a:solidFill>
                <a:prstClr val="black">
                  <a:lumMod val="65000"/>
                  <a:lumOff val="35000"/>
                </a:prstClr>
              </a:solidFill>
            </a:rPr>
            <a:t>2019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398300-9535-4C64-B857-684AAD6B0A43}" type="datetimeFigureOut">
              <a:rPr lang="en-ID" smtClean="0"/>
              <a:t>18/10/2023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6A4B2C-D79D-4102-BDBE-0FF6000DEAEB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347547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0A93D39-0E17-43E3-B348-552FDAFD8C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48A0E327-4602-4920-BBD6-47177EEABC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89DD522-BE07-4702-9FAF-1EA37D09E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4B553-7DFA-42D6-8782-0C1BE6643988}" type="datetime6">
              <a:rPr lang="en-ID" smtClean="0"/>
              <a:t>October 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1764229-0C82-45A7-8019-19674DF8D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3DB49F8-0515-4BC8-ADF0-9EEB30F116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BBA7E6-4538-4F86-A84E-2F9DAC94FB18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88130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64ADFD9-833B-4B9C-B445-45D730DA6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BAB9EB4B-37E0-41DD-900A-CF9F166781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034C1034-27D7-4235-BB51-308D637A8B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62CA2D-B779-4C90-8CFE-0D6225FA4A47}" type="datetime6">
              <a:rPr lang="en-ID" smtClean="0"/>
              <a:t>October 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3B3D3FA-A77A-4F8D-9047-600F4F2F98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90DEF4E2-DD1E-44E1-8C31-5A9BF59BB3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BBA7E6-4538-4F86-A84E-2F9DAC94FB18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391734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CFA9977F-3347-41E5-9636-C4182605353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BDCAACB0-CED2-48A2-A6A8-96CF3D95F7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9C017F6-1B87-482F-96DA-DFEC861F6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CB217-7208-4890-8B8D-EE764AAEF59D}" type="datetime6">
              <a:rPr lang="en-ID" smtClean="0"/>
              <a:t>October 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A076B76-F507-47BD-9CD6-09A5FF6A91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4C09544-799C-4907-9433-102B9EA60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BBA7E6-4538-4F86-A84E-2F9DAC94FB18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17203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7E32A25-0BC4-4367-800E-88BFCA0145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6BD0E4FA-6BC4-4556-AA14-DEB0146213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7169B0F-7EC4-4DA2-8ED1-6337F83EEA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A085A9B-E26B-43F8-BD8C-36BFA5BB926B}" type="datetime1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2B09CB5-3D1B-4FFB-9CA5-E956DA26A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48B03816-1879-45E9-822D-85E2AD7A2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7182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470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350" y="365125"/>
            <a:ext cx="11417300" cy="835025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350" y="1356852"/>
            <a:ext cx="11417300" cy="48201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DBE96C6-1843-4457-BC07-9141BB4CCF64}" type="datetime1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1896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27980D2-C022-459E-A1F1-87941AA58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D33E93C-D9EC-4D6A-893F-F9844785F7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AB125F9-7FB0-4D24-8F71-11CA96EDBB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3FA33F-2CFE-4C4B-89A1-BD1D23843ABA}" type="datetime1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27FD5B-8E8B-493B-B109-84FDAA6FD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B0D5182-C9EA-499D-9300-A5EBD215C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105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6D5CA62-5EBB-4C0A-B3D7-C7967E091F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804E9E1-24C5-4DAC-8EB4-9C46DDC8C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B27FE3EA-0946-43A4-ADDD-B62FB5521E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9C9DD65F-A052-4E05-8923-AA91EB3D49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2346F9-27CA-46E1-8BC9-3CE1718583F9}" type="datetime1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AAAF469-53E3-41B5-ADF1-28FC6890E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6EE884C4-C36F-4D43-8B58-DB23927B8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5755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6F84023-8FE7-47B2-B7A1-4971C4FD9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F7D99207-2FDF-49B9-BA7F-94E519CB1F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C37CD0E2-AE2E-4443-8070-DDD06B04D9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55B5921C-733C-4CF8-AB7B-8D46D796809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B96CE057-98D2-4130-AF46-E030862552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163BDBAF-3E85-4DAA-9F1E-D9C930A9D1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8C3571-EFF5-4E7C-91D1-F1195BEC271B}" type="datetime1">
              <a:rPr lang="en-US" smtClean="0"/>
              <a:t>10/18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DBAFC847-2715-4243-8289-D800C0F86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8480A1FD-7A6B-4F5B-81E9-BB3B8C7E6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0506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0672B28-54E4-4C99-BF0E-B33634A073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C41B56EF-99A8-4B5F-9416-DAC4B3477E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82D993-F377-4AAF-8670-6E050E3F694E}" type="datetime1">
              <a:rPr lang="en-US" smtClean="0"/>
              <a:t>10/1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91708689-2A33-4836-9C59-74BB4387B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25FCAC0-2122-479C-9BCE-C1CDB80F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3528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DF3E64D6-7065-4269-B1D3-441F25A3B0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F33F691-6999-434A-88D5-09942285D5CB}" type="datetime1">
              <a:rPr lang="en-US" smtClean="0"/>
              <a:t>10/1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EAB30C3A-EA5E-4657-95CA-9B0862211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66E9CBDC-D80F-47CC-B4AF-D4B76B58C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8975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1882F8B-0689-4E3C-961F-F117033CD7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3B9D4227-540D-483C-B64B-DA43DAF20A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194CCA32-AE3E-479E-9979-3AFBDF95AF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C2832154-34CE-4849-8DFE-840F63FD13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AA1BE52-553F-46F4-AE11-863FD67EA492}" type="datetime1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5ADC88D-CCD6-4897-8C89-99A2AEA497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9A6D7FCD-B015-452F-BEA0-3FB4BC9E4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016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2B9D029-5A9D-48E7-9D98-ED79F3C74A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42512" y="5377308"/>
            <a:ext cx="626294" cy="365125"/>
          </a:xfrm>
        </p:spPr>
        <p:txBody>
          <a:bodyPr lIns="0" tIns="0" rIns="0" bIns="0"/>
          <a:lstStyle>
            <a:lvl1pPr>
              <a:defRPr sz="1050"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6ECC29C3-C2E8-47BC-AD8F-51C2A6579E4D}" type="datetime6">
              <a:rPr lang="en-ID" smtClean="0"/>
              <a:pPr/>
              <a:t>October 23</a:t>
            </a:fld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4E614B3-5521-4BC6-A734-89E792FBA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7300" y="298450"/>
            <a:ext cx="431800" cy="365125"/>
          </a:xfrm>
        </p:spPr>
        <p:txBody>
          <a:bodyPr/>
          <a:lstStyle>
            <a:lvl1pPr algn="ctr">
              <a:defRPr/>
            </a:lvl1pPr>
          </a:lstStyle>
          <a:p>
            <a:pPr algn="ctr"/>
            <a:fld id="{2CBBA7E6-4538-4F86-A84E-2F9DAC94FB18}" type="slidenum">
              <a:rPr lang="en-ID" smtClean="0"/>
              <a:pPr/>
              <a:t>‹#›</a:t>
            </a:fld>
            <a:endParaRPr lang="en-ID"/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F09EF6BC-76FA-4951-9958-0EA7FB67EAAB}"/>
              </a:ext>
            </a:extLst>
          </p:cNvPr>
          <p:cNvGrpSpPr/>
          <p:nvPr userDrawn="1"/>
        </p:nvGrpSpPr>
        <p:grpSpPr>
          <a:xfrm>
            <a:off x="0" y="5822192"/>
            <a:ext cx="1068807" cy="1068805"/>
            <a:chOff x="0" y="2148396"/>
            <a:chExt cx="985423" cy="985421"/>
          </a:xfrm>
        </p:grpSpPr>
        <p:cxnSp>
          <p:nvCxnSpPr>
            <p:cNvPr id="8" name="Straight Connector 7">
              <a:extLst>
                <a:ext uri="{FF2B5EF4-FFF2-40B4-BE49-F238E27FC236}">
                  <a16:creationId xmlns="" xmlns:a16="http://schemas.microsoft.com/office/drawing/2014/main" id="{E418CE09-9E87-41E5-9C87-2138F1698B4E}"/>
                </a:ext>
              </a:extLst>
            </p:cNvPr>
            <p:cNvCxnSpPr/>
            <p:nvPr userDrawn="1"/>
          </p:nvCxnSpPr>
          <p:spPr>
            <a:xfrm flipV="1">
              <a:off x="0" y="2148396"/>
              <a:ext cx="985421" cy="985421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  <a:alpha val="3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="" xmlns:a16="http://schemas.microsoft.com/office/drawing/2014/main" id="{EC91F710-C124-4161-AF7C-F4F6C87BC29F}"/>
                </a:ext>
              </a:extLst>
            </p:cNvPr>
            <p:cNvCxnSpPr/>
            <p:nvPr userDrawn="1"/>
          </p:nvCxnSpPr>
          <p:spPr>
            <a:xfrm>
              <a:off x="985421" y="2148396"/>
              <a:ext cx="0" cy="575245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  <a:alpha val="3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="" xmlns:a16="http://schemas.microsoft.com/office/drawing/2014/main" id="{5AE732AE-979B-4EC1-8E7C-67BE46147C9B}"/>
                </a:ext>
              </a:extLst>
            </p:cNvPr>
            <p:cNvCxnSpPr/>
            <p:nvPr userDrawn="1"/>
          </p:nvCxnSpPr>
          <p:spPr>
            <a:xfrm flipH="1">
              <a:off x="407988" y="2148396"/>
              <a:ext cx="577435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  <a:alpha val="3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0C43FA13-4562-440E-86E8-83786A6F50E1}"/>
              </a:ext>
            </a:extLst>
          </p:cNvPr>
          <p:cNvSpPr txBox="1"/>
          <p:nvPr userDrawn="1"/>
        </p:nvSpPr>
        <p:spPr>
          <a:xfrm>
            <a:off x="407988" y="378479"/>
            <a:ext cx="787075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000" b="1" spc="300">
                <a:solidFill>
                  <a:srgbClr val="2F3D52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RATING</a:t>
            </a:r>
            <a:endParaRPr lang="en-US" sz="1000" b="1" spc="300" dirty="0">
              <a:solidFill>
                <a:srgbClr val="2F3D52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="" xmlns:a16="http://schemas.microsoft.com/office/drawing/2014/main" id="{511AFBBD-A904-486E-B380-7EEB0B2711D9}"/>
              </a:ext>
            </a:extLst>
          </p:cNvPr>
          <p:cNvSpPr/>
          <p:nvPr userDrawn="1"/>
        </p:nvSpPr>
        <p:spPr>
          <a:xfrm>
            <a:off x="0" y="-458179"/>
            <a:ext cx="361944" cy="361944"/>
          </a:xfrm>
          <a:prstGeom prst="ellipse">
            <a:avLst/>
          </a:prstGeom>
          <a:solidFill>
            <a:srgbClr val="0060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A51CFB0-86B0-477A-B697-54E3F29658AA}"/>
              </a:ext>
            </a:extLst>
          </p:cNvPr>
          <p:cNvSpPr/>
          <p:nvPr userDrawn="1"/>
        </p:nvSpPr>
        <p:spPr>
          <a:xfrm>
            <a:off x="419100" y="-458179"/>
            <a:ext cx="361944" cy="361944"/>
          </a:xfrm>
          <a:prstGeom prst="ellipse">
            <a:avLst/>
          </a:prstGeom>
          <a:solidFill>
            <a:srgbClr val="029E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8CA5AEB2-58FC-4817-AB3C-BE1C5BAB5899}"/>
              </a:ext>
            </a:extLst>
          </p:cNvPr>
          <p:cNvSpPr/>
          <p:nvPr userDrawn="1"/>
        </p:nvSpPr>
        <p:spPr>
          <a:xfrm>
            <a:off x="838200" y="-458179"/>
            <a:ext cx="361944" cy="361944"/>
          </a:xfrm>
          <a:prstGeom prst="ellipse">
            <a:avLst/>
          </a:prstGeom>
          <a:solidFill>
            <a:srgbClr val="2F3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338823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54FF0C1-CB41-42E9-A5D3-B32D4A7CD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FE17D0B6-B34A-4434-9B49-42484457E8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3F31BC63-447A-47E5-9868-60CE07485E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7E0A5EE7-582A-4D1E-BDD2-F5397EA315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EF53246-3525-4440-8E2E-A28CFDBCA39B}" type="datetime1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D967F00-AB59-4DC6-8AB2-23E75CB39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F0EF9295-41A4-4C61-96C4-760B4654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2609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F347C99-D598-4AE0-896E-1C9D65B7C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5320C0C6-6FC8-40F8-AFA5-ADA1E44170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E50E903-27DA-44D7-AEFA-9628FC7E50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1892B3-6194-4626-8D5D-C1B1652730BB}" type="datetime1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4B604B9-E95B-40DE-829A-E8315FB81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06CC9-E391-4937-905B-FE4B1E752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6140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093BDBA2-440A-47F4-9043-F850A08A26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8607B311-5DC5-4E62-B219-DE5897D31E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5C40E7F-620C-418F-84C6-30B3A156C2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BC82BF5-E2BD-4206-95D4-3AE02BFB211A}" type="datetime1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C37F132-C2B3-4CEC-B9B7-8ADDDA570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1D83128-B7F4-4641-9062-2842F1E95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317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0BDBDDC-0024-43B3-A820-A5C01395D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CA5725F-BCED-4DB7-80F3-510EFBBFDB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238EB09-26D4-4052-A96E-718572626B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789F8-CF79-4D91-9462-6FF4B607E509}" type="datetime6">
              <a:rPr lang="en-ID" smtClean="0"/>
              <a:t>October 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2FDE159-42BE-4637-A99A-228E42CE20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77E9D30-8FE1-4236-BF71-AE4935766E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BBA7E6-4538-4F86-A84E-2F9DAC94FB18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333119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C7C5805-BB46-4F3E-9E3F-4BE863CAC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DBDE9878-E13C-409A-8A55-DE6F8FC788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A235D312-C634-477F-B568-6D90624D23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8C61BA99-4318-4ABA-8402-C79542935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F41632-18F2-4A5D-8140-5E72CC796B19}" type="datetime6">
              <a:rPr lang="en-ID" smtClean="0"/>
              <a:t>October 23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B2DAF7E-3FC6-4723-9764-DCE3316AD0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BA5EFFBA-8F55-4F23-B227-C6E49CDB8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BBA7E6-4538-4F86-A84E-2F9DAC94FB18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197202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7C545AA-8C3D-4ACF-90D8-01B2C3350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D7E93952-5354-4970-8DD9-3FB95E1154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4027146-0F8B-4CC6-BDDF-D30DADD639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53167E48-C389-495B-AEF8-9730ABB19B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37492912-C766-40BE-B55D-5603A5954B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8420157A-B089-4126-ABC1-564202A09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FD0A9-AB0A-41E6-B5B8-6E466978FA51}" type="datetime6">
              <a:rPr lang="en-ID" smtClean="0"/>
              <a:t>October 23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07DFB191-0EAF-4D17-AC08-F74378EAE9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9094123A-07FA-4DF0-B3EE-41D12027EA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BBA7E6-4538-4F86-A84E-2F9DAC94FB18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39247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276AC65-5D5F-4FE1-BE3F-F4788FB56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DF28A8C9-AC0B-4152-82B3-D00CE0084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AF618-9436-48A2-B9F1-1C98D5793F2A}" type="datetime6">
              <a:rPr lang="en-ID" smtClean="0"/>
              <a:t>October 23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9F49450-96D1-43A0-853C-98AE832BE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010C45DD-FBD3-49C4-B7CA-3E36C9B21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BBA7E6-4538-4F86-A84E-2F9DAC94FB18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67837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87B52517-5422-4814-A038-1F53C7E148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40761-9448-4BA0-9E83-083873597624}" type="datetime6">
              <a:rPr lang="en-ID" smtClean="0"/>
              <a:t>October 23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DFD2E1F-0F8B-4293-BDEA-3CE5E37D71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95C7EEF-1149-4842-B0A5-DAD8C2C62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BBA7E6-4538-4F86-A84E-2F9DAC94FB18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65420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D24B38D-C893-4CE6-9244-CC33A6328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0E1F905-09AA-4833-BAC6-842C7C5830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BF60C97E-228E-479B-A510-AC0F00B2F1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7375A28C-188C-47B6-B719-46816D8629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10C9C-5D3F-4009-9215-535A5F6F7596}" type="datetime6">
              <a:rPr lang="en-ID" smtClean="0"/>
              <a:t>October 23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473B3364-6A51-49CF-8881-D03971C39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87853B43-739F-41E5-BF12-EE5585A1E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BBA7E6-4538-4F86-A84E-2F9DAC94FB18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797784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59987D6-3911-4EB7-986A-E602ABF8A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561FBD64-D61F-4D98-A3F4-287D871A081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0051E55-F6E1-4349-9A79-07BD3FB437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93EE1937-8C2F-4C31-AC38-676D69BA9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7244E6-8BCC-4600-9270-5B03158A9280}" type="datetime6">
              <a:rPr lang="en-ID" smtClean="0"/>
              <a:t>October 23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83187858-F7AD-4939-8531-DC35CBF5B2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B72CA40D-D463-486A-878A-EB24A92C9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BBA7E6-4538-4F86-A84E-2F9DAC94FB18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736759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0B0B9155-2A7F-4BD2-B5E9-7F678B5AA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5DC4B409-8D7A-433F-AC4F-E3DB2F22F2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F26B5FB-FF1A-496F-83AC-B7EEF32D18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D97BB7-A5FA-4A77-84E6-97F3E4E30AF3}" type="datetime6">
              <a:rPr lang="en-ID" smtClean="0"/>
              <a:t>October 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B80B28C-120C-472C-8298-E3BAE4CEB2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C59D8C7-D627-4E23-8292-C5A437ECD7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BBA7E6-4538-4F86-A84E-2F9DAC94FB18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90600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F43F1A51-B966-4A8C-8C10-5CB0A087D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17919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F43F1A51-B966-4A8C-8C10-5CB0A087D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3AABDB85-54EC-42B0-A183-31738D9AA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350" y="365125"/>
            <a:ext cx="1141730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1810A39E-0D2E-4EF4-BDFB-9AE2B07619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7350" y="1460500"/>
            <a:ext cx="11417300" cy="47164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DE0B3E9-4EA7-4871-BA28-D174C083C8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6662" y="6356350"/>
            <a:ext cx="407987" cy="365125"/>
          </a:xfrm>
          <a:prstGeom prst="rect">
            <a:avLst/>
          </a:prstGeom>
          <a:solidFill>
            <a:srgbClr val="0BD0D9"/>
          </a:solidFill>
          <a:effectLst>
            <a:outerShdw dist="38100" dir="10800000" algn="r" rotWithShape="0">
              <a:srgbClr val="CEDC00"/>
            </a:outerShdw>
          </a:effectLst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fld id="{3DB09A56-2F1D-4318-9240-BF2B90CE36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142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8.xml"/><Relationship Id="rId4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Orange Fabric Sofa With Three Throw Pillows Near Black Potted Plant">
            <a:extLst>
              <a:ext uri="{FF2B5EF4-FFF2-40B4-BE49-F238E27FC236}">
                <a16:creationId xmlns="" xmlns:a16="http://schemas.microsoft.com/office/drawing/2014/main" id="{B40FC943-DE8A-4847-B366-A66060B387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2" t="3763" r="1662" b="10533"/>
          <a:stretch/>
        </p:blipFill>
        <p:spPr bwMode="auto">
          <a:xfrm>
            <a:off x="1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651BAA0B-2E84-421C-B4A1-C8B2AC468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BBA7E6-4538-4F86-A84E-2F9DAC94FB18}" type="slidenum">
              <a:rPr lang="en-ID" smtClean="0"/>
              <a:t>1</a:t>
            </a:fld>
            <a:endParaRPr lang="en-ID"/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4D580123-8B12-4D51-A477-6F30DF62A310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gradFill>
            <a:gsLst>
              <a:gs pos="0">
                <a:srgbClr val="029EAD">
                  <a:alpha val="69000"/>
                </a:srgbClr>
              </a:gs>
              <a:gs pos="100000">
                <a:srgbClr val="00608F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3" name="Picture 12" descr="Orange Fabric Sofa With Three Throw Pillows Near Black Potted Plant">
            <a:extLst>
              <a:ext uri="{FF2B5EF4-FFF2-40B4-BE49-F238E27FC236}">
                <a16:creationId xmlns="" xmlns:a16="http://schemas.microsoft.com/office/drawing/2014/main" id="{9CD0FE15-4736-4DE1-BB86-CE4ABF2E43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19" t="13003" r="9819" b="19773"/>
          <a:stretch/>
        </p:blipFill>
        <p:spPr bwMode="auto">
          <a:xfrm>
            <a:off x="1028700" y="739378"/>
            <a:ext cx="10134600" cy="5379244"/>
          </a:xfrm>
          <a:custGeom>
            <a:avLst/>
            <a:gdLst>
              <a:gd name="connsiteX0" fmla="*/ 0 w 10134600"/>
              <a:gd name="connsiteY0" fmla="*/ 0 h 5379244"/>
              <a:gd name="connsiteX1" fmla="*/ 10134600 w 10134600"/>
              <a:gd name="connsiteY1" fmla="*/ 0 h 5379244"/>
              <a:gd name="connsiteX2" fmla="*/ 10134600 w 10134600"/>
              <a:gd name="connsiteY2" fmla="*/ 5379244 h 5379244"/>
              <a:gd name="connsiteX3" fmla="*/ 0 w 10134600"/>
              <a:gd name="connsiteY3" fmla="*/ 5379244 h 537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34600" h="5379244">
                <a:moveTo>
                  <a:pt x="0" y="0"/>
                </a:moveTo>
                <a:lnTo>
                  <a:pt x="10134600" y="0"/>
                </a:lnTo>
                <a:lnTo>
                  <a:pt x="10134600" y="5379244"/>
                </a:lnTo>
                <a:lnTo>
                  <a:pt x="0" y="5379244"/>
                </a:lnTo>
                <a:close/>
              </a:path>
            </a:pathLst>
          </a:custGeom>
          <a:effectLst>
            <a:outerShdw blurRad="533400" dist="114300" dir="8100000" algn="tr" rotWithShape="0">
              <a:prstClr val="black">
                <a:alpha val="54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38A5C521-B782-44BD-9F8E-07EA6D1473E1}"/>
              </a:ext>
            </a:extLst>
          </p:cNvPr>
          <p:cNvSpPr/>
          <p:nvPr/>
        </p:nvSpPr>
        <p:spPr>
          <a:xfrm>
            <a:off x="1028700" y="739378"/>
            <a:ext cx="10134600" cy="5379244"/>
          </a:xfrm>
          <a:prstGeom prst="rect">
            <a:avLst/>
          </a:prstGeom>
          <a:gradFill>
            <a:gsLst>
              <a:gs pos="0">
                <a:srgbClr val="029EAD">
                  <a:alpha val="69000"/>
                </a:srgbClr>
              </a:gs>
              <a:gs pos="100000">
                <a:srgbClr val="00608F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4" name="Title 7">
            <a:extLst>
              <a:ext uri="{FF2B5EF4-FFF2-40B4-BE49-F238E27FC236}">
                <a16:creationId xmlns="" xmlns:a16="http://schemas.microsoft.com/office/drawing/2014/main" id="{596A437E-A443-463F-AEA0-0B18A6945F25}"/>
              </a:ext>
            </a:extLst>
          </p:cNvPr>
          <p:cNvSpPr txBox="1">
            <a:spLocks/>
          </p:cNvSpPr>
          <p:nvPr/>
        </p:nvSpPr>
        <p:spPr>
          <a:xfrm>
            <a:off x="1028700" y="993085"/>
            <a:ext cx="10134600" cy="192052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10000"/>
              </a:lnSpc>
            </a:pPr>
            <a:r>
              <a:rPr lang="en-US" sz="3600" b="1" dirty="0" smtClean="0">
                <a:solidFill>
                  <a:schemeClr val="bg1"/>
                </a:solidFill>
                <a:latin typeface="Arial" panose="020B0604020202020204" pitchFamily="34" charset="0"/>
                <a:ea typeface="Source Sans Pro Black" panose="020B0803030403020204" pitchFamily="34" charset="0"/>
                <a:cs typeface="Arial" panose="020B0604020202020204" pitchFamily="34" charset="0"/>
              </a:rPr>
              <a:t>Hotel </a:t>
            </a:r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ea typeface="Source Sans Pro Black" panose="020B0803030403020204" pitchFamily="34" charset="0"/>
                <a:cs typeface="Arial" panose="020B0604020202020204" pitchFamily="34" charset="0"/>
              </a:rPr>
              <a:t>Transaction Data Analysis: Unveiling Revenue Trends, Market </a:t>
            </a:r>
            <a:r>
              <a:rPr lang="en-US" sz="3600" b="1" dirty="0" smtClean="0">
                <a:solidFill>
                  <a:schemeClr val="bg1"/>
                </a:solidFill>
                <a:latin typeface="Arial" panose="020B0604020202020204" pitchFamily="34" charset="0"/>
                <a:ea typeface="Source Sans Pro Black" panose="020B0803030403020204" pitchFamily="34" charset="0"/>
                <a:cs typeface="Arial" panose="020B0604020202020204" pitchFamily="34" charset="0"/>
              </a:rPr>
              <a:t>Segments, Occupancy </a:t>
            </a:r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ea typeface="Source Sans Pro Black" panose="020B0803030403020204" pitchFamily="34" charset="0"/>
                <a:cs typeface="Arial" panose="020B0604020202020204" pitchFamily="34" charset="0"/>
              </a:rPr>
              <a:t>Patterns, Cancellation </a:t>
            </a:r>
            <a:r>
              <a:rPr lang="en-US" sz="3600" b="1" dirty="0" smtClean="0">
                <a:solidFill>
                  <a:schemeClr val="bg1"/>
                </a:solidFill>
                <a:latin typeface="Arial" panose="020B0604020202020204" pitchFamily="34" charset="0"/>
                <a:ea typeface="Source Sans Pro Black" panose="020B0803030403020204" pitchFamily="34" charset="0"/>
                <a:cs typeface="Arial" panose="020B0604020202020204" pitchFamily="34" charset="0"/>
              </a:rPr>
              <a:t>Insights</a:t>
            </a:r>
            <a:endParaRPr lang="en-US" sz="3600" b="1" dirty="0">
              <a:solidFill>
                <a:schemeClr val="bg1"/>
              </a:solidFill>
              <a:latin typeface="Arial" panose="020B0604020202020204" pitchFamily="34" charset="0"/>
              <a:ea typeface="Source Sans Pro Black" panose="020B0803030403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EA1900E3-CD6B-4592-B0F9-A8865979C479}"/>
              </a:ext>
            </a:extLst>
          </p:cNvPr>
          <p:cNvGrpSpPr/>
          <p:nvPr/>
        </p:nvGrpSpPr>
        <p:grpSpPr>
          <a:xfrm>
            <a:off x="1028700" y="5049817"/>
            <a:ext cx="1068807" cy="1068805"/>
            <a:chOff x="0" y="2148396"/>
            <a:chExt cx="985423" cy="985421"/>
          </a:xfrm>
        </p:grpSpPr>
        <p:cxnSp>
          <p:nvCxnSpPr>
            <p:cNvPr id="21" name="Straight Connector 20">
              <a:extLst>
                <a:ext uri="{FF2B5EF4-FFF2-40B4-BE49-F238E27FC236}">
                  <a16:creationId xmlns="" xmlns:a16="http://schemas.microsoft.com/office/drawing/2014/main" id="{1572B150-99F3-4800-B4C3-7B2B8552E16B}"/>
                </a:ext>
              </a:extLst>
            </p:cNvPr>
            <p:cNvCxnSpPr/>
            <p:nvPr userDrawn="1"/>
          </p:nvCxnSpPr>
          <p:spPr>
            <a:xfrm flipV="1">
              <a:off x="0" y="2148396"/>
              <a:ext cx="985421" cy="985421"/>
            </a:xfrm>
            <a:prstGeom prst="line">
              <a:avLst/>
            </a:prstGeom>
            <a:ln>
              <a:solidFill>
                <a:schemeClr val="bg1">
                  <a:alpha val="9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="" xmlns:a16="http://schemas.microsoft.com/office/drawing/2014/main" id="{2BFA1949-604A-4670-AA48-303E4289BF81}"/>
                </a:ext>
              </a:extLst>
            </p:cNvPr>
            <p:cNvCxnSpPr/>
            <p:nvPr userDrawn="1"/>
          </p:nvCxnSpPr>
          <p:spPr>
            <a:xfrm>
              <a:off x="985421" y="2148396"/>
              <a:ext cx="0" cy="575245"/>
            </a:xfrm>
            <a:prstGeom prst="line">
              <a:avLst/>
            </a:prstGeom>
            <a:ln>
              <a:solidFill>
                <a:schemeClr val="bg1">
                  <a:alpha val="9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="" xmlns:a16="http://schemas.microsoft.com/office/drawing/2014/main" id="{9B2920A4-3D3F-4607-AD51-4317D3DD7EC7}"/>
                </a:ext>
              </a:extLst>
            </p:cNvPr>
            <p:cNvCxnSpPr/>
            <p:nvPr userDrawn="1"/>
          </p:nvCxnSpPr>
          <p:spPr>
            <a:xfrm flipH="1">
              <a:off x="407988" y="2148396"/>
              <a:ext cx="577435" cy="0"/>
            </a:xfrm>
            <a:prstGeom prst="line">
              <a:avLst/>
            </a:prstGeom>
            <a:ln>
              <a:solidFill>
                <a:schemeClr val="bg1">
                  <a:alpha val="9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FAE5A0E6-E2B8-498B-9D56-E243D7C7ED3B}"/>
              </a:ext>
            </a:extLst>
          </p:cNvPr>
          <p:cNvSpPr/>
          <p:nvPr/>
        </p:nvSpPr>
        <p:spPr>
          <a:xfrm>
            <a:off x="9389174" y="5291831"/>
            <a:ext cx="210045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Source Sans Pro" panose="020B0503030403020204" pitchFamily="34" charset="0"/>
                <a:cs typeface="Calibri Light" panose="020F0302020204030204" pitchFamily="34" charset="0"/>
              </a:rPr>
              <a:t>By</a:t>
            </a: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bg1"/>
                </a:solidFill>
                <a:latin typeface="Calibri Light" panose="020F0302020204030204" pitchFamily="34" charset="0"/>
                <a:ea typeface="Source Sans Pro" panose="020B0503030403020204" pitchFamily="34" charset="0"/>
                <a:cs typeface="Calibri Light" panose="020F0302020204030204" pitchFamily="34" charset="0"/>
              </a:rPr>
              <a:t> </a:t>
            </a:r>
            <a:r>
              <a:rPr lang="en-US" sz="20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Source Sans Pro" panose="020B0503030403020204" pitchFamily="34" charset="0"/>
                <a:cs typeface="Calibri Light" panose="020F0302020204030204" pitchFamily="34" charset="0"/>
              </a:rPr>
              <a:t>   </a:t>
            </a:r>
            <a:r>
              <a:rPr lang="en-US" sz="2000" b="1" dirty="0" err="1" smtClean="0">
                <a:solidFill>
                  <a:schemeClr val="bg1"/>
                </a:solidFill>
                <a:latin typeface="Calibri Light" panose="020F0302020204030204" pitchFamily="34" charset="0"/>
                <a:ea typeface="Source Sans Pro" panose="020B0503030403020204" pitchFamily="34" charset="0"/>
                <a:cs typeface="Calibri Light" panose="020F0302020204030204" pitchFamily="34" charset="0"/>
              </a:rPr>
              <a:t>R.Ragul</a:t>
            </a:r>
            <a:r>
              <a:rPr lang="en-US" sz="20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Source Sans Pro" panose="020B0503030403020204" pitchFamily="34" charset="0"/>
                <a:cs typeface="Calibri Light" panose="020F0302020204030204" pitchFamily="34" charset="0"/>
              </a:rPr>
              <a:t> Raj  </a:t>
            </a:r>
            <a:endParaRPr lang="en-US" sz="2000" b="1" dirty="0">
              <a:solidFill>
                <a:schemeClr val="bg1"/>
              </a:solidFill>
              <a:latin typeface="Calibri Light" panose="020F0302020204030204" pitchFamily="34" charset="0"/>
              <a:ea typeface="Source Sans Pro" panose="020B050303040302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08AB81A3-39CC-4D62-81DD-F47E7F6BC989}"/>
              </a:ext>
            </a:extLst>
          </p:cNvPr>
          <p:cNvSpPr/>
          <p:nvPr/>
        </p:nvSpPr>
        <p:spPr>
          <a:xfrm>
            <a:off x="2540016" y="4609650"/>
            <a:ext cx="1460477" cy="44016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190500" dir="5400000" sx="95000" sy="95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29EAD"/>
                </a:solidFill>
              </a:rPr>
              <a:t>2018</a:t>
            </a:r>
            <a:endParaRPr lang="en-ID" dirty="0">
              <a:solidFill>
                <a:srgbClr val="029EAD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08AB81A3-39CC-4D62-81DD-F47E7F6BC989}"/>
              </a:ext>
            </a:extLst>
          </p:cNvPr>
          <p:cNvSpPr/>
          <p:nvPr/>
        </p:nvSpPr>
        <p:spPr>
          <a:xfrm>
            <a:off x="5169924" y="4609650"/>
            <a:ext cx="1460477" cy="44016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190500" dir="5400000" sx="95000" sy="95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29EAD"/>
                </a:solidFill>
              </a:rPr>
              <a:t>2019</a:t>
            </a:r>
            <a:endParaRPr lang="en-ID" dirty="0">
              <a:solidFill>
                <a:srgbClr val="029EAD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08AB81A3-39CC-4D62-81DD-F47E7F6BC989}"/>
              </a:ext>
            </a:extLst>
          </p:cNvPr>
          <p:cNvSpPr/>
          <p:nvPr/>
        </p:nvSpPr>
        <p:spPr>
          <a:xfrm>
            <a:off x="7721616" y="4609650"/>
            <a:ext cx="1460477" cy="44016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190500" dir="5400000" sx="95000" sy="95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29EAD"/>
                </a:solidFill>
              </a:rPr>
              <a:t>2020</a:t>
            </a:r>
            <a:endParaRPr lang="en-ID" dirty="0">
              <a:solidFill>
                <a:srgbClr val="029E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801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09E36893-3E16-4A9B-996E-4C94846C76E4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5" name="Freeform: Shape 4">
              <a:extLst>
                <a:ext uri="{FF2B5EF4-FFF2-40B4-BE49-F238E27FC236}">
                  <a16:creationId xmlns="" xmlns:a16="http://schemas.microsoft.com/office/drawing/2014/main" id="{47E9A1A0-5A6D-49AA-9D75-DC5697DEA0A0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="" xmlns:a16="http://schemas.microsoft.com/office/drawing/2014/main" id="{936B154D-2B39-4A12-B3DD-188228DF28FE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="" xmlns:a16="http://schemas.microsoft.com/office/drawing/2014/main" id="{A1A05AE0-4B5D-4A77-815F-8760F25DCDED}"/>
              </a:ext>
            </a:extLst>
          </p:cNvPr>
          <p:cNvGrpSpPr/>
          <p:nvPr/>
        </p:nvGrpSpPr>
        <p:grpSpPr>
          <a:xfrm>
            <a:off x="309313" y="394589"/>
            <a:ext cx="6494894" cy="5657330"/>
            <a:chOff x="503994" y="497688"/>
            <a:chExt cx="4668803" cy="3675367"/>
          </a:xfrm>
        </p:grpSpPr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2F900637-C53E-436F-A305-96B84A753670}"/>
                </a:ext>
              </a:extLst>
            </p:cNvPr>
            <p:cNvSpPr/>
            <p:nvPr/>
          </p:nvSpPr>
          <p:spPr>
            <a:xfrm>
              <a:off x="503994" y="497688"/>
              <a:ext cx="3838604" cy="43989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IN" sz="44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OVERALL INSIGHTS</a:t>
              </a:r>
              <a:endPara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="" xmlns:a16="http://schemas.microsoft.com/office/drawing/2014/main" id="{593BB798-90AB-479D-A36C-B41AB173BD69}"/>
                </a:ext>
              </a:extLst>
            </p:cNvPr>
            <p:cNvGrpSpPr/>
            <p:nvPr/>
          </p:nvGrpSpPr>
          <p:grpSpPr>
            <a:xfrm>
              <a:off x="503994" y="1902946"/>
              <a:ext cx="4668803" cy="2270109"/>
              <a:chOff x="539677" y="1742165"/>
              <a:chExt cx="4668803" cy="2270109"/>
            </a:xfrm>
          </p:grpSpPr>
          <p:grpSp>
            <p:nvGrpSpPr>
              <p:cNvPr id="46" name="Group 45">
                <a:extLst>
                  <a:ext uri="{FF2B5EF4-FFF2-40B4-BE49-F238E27FC236}">
                    <a16:creationId xmlns="" xmlns:a16="http://schemas.microsoft.com/office/drawing/2014/main" id="{2FC26297-7D21-42D7-8324-7AEDF1988E54}"/>
                  </a:ext>
                </a:extLst>
              </p:cNvPr>
              <p:cNvGrpSpPr/>
              <p:nvPr/>
            </p:nvGrpSpPr>
            <p:grpSpPr>
              <a:xfrm>
                <a:off x="4124562" y="1908305"/>
                <a:ext cx="1083918" cy="354195"/>
                <a:chOff x="4303174" y="1645397"/>
                <a:chExt cx="477866" cy="199933"/>
              </a:xfrm>
            </p:grpSpPr>
            <p:sp>
              <p:nvSpPr>
                <p:cNvPr id="53" name="Rectangle: Top Corners Rounded 52">
                  <a:extLst>
                    <a:ext uri="{FF2B5EF4-FFF2-40B4-BE49-F238E27FC236}">
                      <a16:creationId xmlns="" xmlns:a16="http://schemas.microsoft.com/office/drawing/2014/main" id="{DB6CF441-580F-4D0B-B847-F587F454E7EB}"/>
                    </a:ext>
                  </a:extLst>
                </p:cNvPr>
                <p:cNvSpPr/>
                <p:nvPr/>
              </p:nvSpPr>
              <p:spPr>
                <a:xfrm rot="5400000">
                  <a:off x="4442140" y="1506431"/>
                  <a:ext cx="199933" cy="477866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TextBox 53">
                  <a:extLst>
                    <a:ext uri="{FF2B5EF4-FFF2-40B4-BE49-F238E27FC236}">
                      <a16:creationId xmlns="" xmlns:a16="http://schemas.microsoft.com/office/drawing/2014/main" id="{8F9EB3CB-40B5-4621-9A61-28DCC4295BCC}"/>
                    </a:ext>
                  </a:extLst>
                </p:cNvPr>
                <p:cNvSpPr txBox="1"/>
                <p:nvPr/>
              </p:nvSpPr>
              <p:spPr>
                <a:xfrm>
                  <a:off x="4348555" y="1694906"/>
                  <a:ext cx="432485" cy="9029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IN" sz="160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2018-&gt; </a:t>
                  </a:r>
                  <a:r>
                    <a:rPr lang="en-IN" sz="1600" b="1" dirty="0" smtClean="0">
                      <a:latin typeface="Calibri" panose="020F0502020204030204"/>
                    </a:rPr>
                    <a:t>21996</a:t>
                  </a:r>
                  <a:endParaRPr kumimoji="0" lang="id-ID" sz="16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="" xmlns:a16="http://schemas.microsoft.com/office/drawing/2014/main" id="{EB398C44-202B-4CD0-91AA-8602E76B6186}"/>
                  </a:ext>
                </a:extLst>
              </p:cNvPr>
              <p:cNvGrpSpPr/>
              <p:nvPr/>
            </p:nvGrpSpPr>
            <p:grpSpPr>
              <a:xfrm>
                <a:off x="543826" y="1742165"/>
                <a:ext cx="2104883" cy="591553"/>
                <a:chOff x="617538" y="1927225"/>
                <a:chExt cx="2104883" cy="591553"/>
              </a:xfrm>
            </p:grpSpPr>
            <p:grpSp>
              <p:nvGrpSpPr>
                <p:cNvPr id="33" name="Group 32">
                  <a:extLst>
                    <a:ext uri="{FF2B5EF4-FFF2-40B4-BE49-F238E27FC236}">
                      <a16:creationId xmlns="" xmlns:a16="http://schemas.microsoft.com/office/drawing/2014/main" id="{20EBFFAE-89B5-40ED-8926-6DED1B284DB8}"/>
                    </a:ext>
                  </a:extLst>
                </p:cNvPr>
                <p:cNvGrpSpPr/>
                <p:nvPr/>
              </p:nvGrpSpPr>
              <p:grpSpPr>
                <a:xfrm>
                  <a:off x="1385353" y="1985477"/>
                  <a:ext cx="1337068" cy="533301"/>
                  <a:chOff x="1302338" y="1896979"/>
                  <a:chExt cx="1337068" cy="533301"/>
                </a:xfrm>
              </p:grpSpPr>
              <p:sp>
                <p:nvSpPr>
                  <p:cNvPr id="43" name="Rectangle 42">
                    <a:extLst>
                      <a:ext uri="{FF2B5EF4-FFF2-40B4-BE49-F238E27FC236}">
                        <a16:creationId xmlns="" xmlns:a16="http://schemas.microsoft.com/office/drawing/2014/main" id="{9013AA5C-7782-4370-9DF2-5B9C2E771986}"/>
                      </a:ext>
                    </a:extLst>
                  </p:cNvPr>
                  <p:cNvSpPr/>
                  <p:nvPr/>
                </p:nvSpPr>
                <p:spPr>
                  <a:xfrm>
                    <a:off x="1302338" y="1896979"/>
                    <a:ext cx="1050338" cy="279932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2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2</a:t>
                    </a:r>
                    <a:r>
                      <a:rPr kumimoji="0" lang="en-US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 </a:t>
                    </a:r>
                    <a:endPara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83D65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ea typeface="Open Sans" panose="020B0606030504020204" pitchFamily="34" charset="0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44" name="Rectangle 43">
                    <a:extLst>
                      <a:ext uri="{FF2B5EF4-FFF2-40B4-BE49-F238E27FC236}">
                        <a16:creationId xmlns="" xmlns:a16="http://schemas.microsoft.com/office/drawing/2014/main" id="{3992A51F-6AEB-495D-A5AC-A787B3575487}"/>
                      </a:ext>
                    </a:extLst>
                  </p:cNvPr>
                  <p:cNvSpPr/>
                  <p:nvPr/>
                </p:nvSpPr>
                <p:spPr>
                  <a:xfrm>
                    <a:off x="1302338" y="2261003"/>
                    <a:ext cx="1337068" cy="169277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US" sz="1100" b="1" dirty="0" smtClean="0">
                        <a:solidFill>
                          <a:srgbClr val="083D65"/>
                        </a:solidFill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TYPES OF HOTELS</a:t>
                    </a:r>
                    <a:endPara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83D65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ea typeface="Open Sans" panose="020B0606030504020204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34" name="Group 33">
                  <a:extLst>
                    <a:ext uri="{FF2B5EF4-FFF2-40B4-BE49-F238E27FC236}">
                      <a16:creationId xmlns="" xmlns:a16="http://schemas.microsoft.com/office/drawing/2014/main" id="{50C6ECA8-9686-4FB4-AD9D-4CE3A09CF87E}"/>
                    </a:ext>
                  </a:extLst>
                </p:cNvPr>
                <p:cNvGrpSpPr/>
                <p:nvPr/>
              </p:nvGrpSpPr>
              <p:grpSpPr>
                <a:xfrm>
                  <a:off x="617538" y="1927225"/>
                  <a:ext cx="577851" cy="576263"/>
                  <a:chOff x="617538" y="1927225"/>
                  <a:chExt cx="577851" cy="576263"/>
                </a:xfrm>
              </p:grpSpPr>
              <p:sp>
                <p:nvSpPr>
                  <p:cNvPr id="35" name="Oval 20">
                    <a:extLst>
                      <a:ext uri="{FF2B5EF4-FFF2-40B4-BE49-F238E27FC236}">
                        <a16:creationId xmlns="" xmlns:a16="http://schemas.microsoft.com/office/drawing/2014/main" id="{B6BDD336-3321-48CD-98FE-04EE05FA5CE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reeform 21">
                    <a:extLst>
                      <a:ext uri="{FF2B5EF4-FFF2-40B4-BE49-F238E27FC236}">
                        <a16:creationId xmlns="" xmlns:a16="http://schemas.microsoft.com/office/drawing/2014/main" id="{61318166-2F5C-4156-A1AA-3D779696B8A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0726" y="1943100"/>
                    <a:ext cx="474663" cy="560388"/>
                  </a:xfrm>
                  <a:custGeom>
                    <a:avLst/>
                    <a:gdLst>
                      <a:gd name="T0" fmla="*/ 469 w 469"/>
                      <a:gd name="T1" fmla="*/ 270 h 555"/>
                      <a:gd name="T2" fmla="*/ 183 w 469"/>
                      <a:gd name="T3" fmla="*/ 555 h 555"/>
                      <a:gd name="T4" fmla="*/ 0 w 469"/>
                      <a:gd name="T5" fmla="*/ 489 h 555"/>
                      <a:gd name="T6" fmla="*/ 93 w 469"/>
                      <a:gd name="T7" fmla="*/ 505 h 555"/>
                      <a:gd name="T8" fmla="*/ 378 w 469"/>
                      <a:gd name="T9" fmla="*/ 219 h 555"/>
                      <a:gd name="T10" fmla="*/ 276 w 469"/>
                      <a:gd name="T11" fmla="*/ 0 h 555"/>
                      <a:gd name="T12" fmla="*/ 469 w 469"/>
                      <a:gd name="T13" fmla="*/ 270 h 5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69" h="555">
                        <a:moveTo>
                          <a:pt x="469" y="270"/>
                        </a:moveTo>
                        <a:cubicBezTo>
                          <a:pt x="469" y="428"/>
                          <a:pt x="341" y="555"/>
                          <a:pt x="183" y="555"/>
                        </a:cubicBezTo>
                        <a:cubicBezTo>
                          <a:pt x="114" y="555"/>
                          <a:pt x="50" y="531"/>
                          <a:pt x="0" y="489"/>
                        </a:cubicBezTo>
                        <a:cubicBezTo>
                          <a:pt x="29" y="499"/>
                          <a:pt x="61" y="505"/>
                          <a:pt x="93" y="505"/>
                        </a:cubicBezTo>
                        <a:cubicBezTo>
                          <a:pt x="251" y="505"/>
                          <a:pt x="378" y="377"/>
                          <a:pt x="378" y="219"/>
                        </a:cubicBezTo>
                        <a:cubicBezTo>
                          <a:pt x="378" y="131"/>
                          <a:pt x="339" y="53"/>
                          <a:pt x="276" y="0"/>
                        </a:cubicBezTo>
                        <a:cubicBezTo>
                          <a:pt x="388" y="39"/>
                          <a:pt x="469" y="145"/>
                          <a:pt x="469" y="270"/>
                        </a:cubicBezTo>
                        <a:close/>
                      </a:path>
                    </a:pathLst>
                  </a:custGeom>
                  <a:solidFill>
                    <a:srgbClr val="D1E3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" name="Oval 22">
                    <a:extLst>
                      <a:ext uri="{FF2B5EF4-FFF2-40B4-BE49-F238E27FC236}">
                        <a16:creationId xmlns="" xmlns:a16="http://schemas.microsoft.com/office/drawing/2014/main" id="{D455DBDB-2778-4DC6-BAF1-04673542197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7538" y="1927225"/>
                    <a:ext cx="577850" cy="576263"/>
                  </a:xfrm>
                  <a:prstGeom prst="ellips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" name="Freeform 23">
                    <a:extLst>
                      <a:ext uri="{FF2B5EF4-FFF2-40B4-BE49-F238E27FC236}">
                        <a16:creationId xmlns="" xmlns:a16="http://schemas.microsoft.com/office/drawing/2014/main" id="{16EA931E-A4BF-4D4E-8CE2-111C2600625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73113" y="2081213"/>
                    <a:ext cx="261938" cy="268288"/>
                  </a:xfrm>
                  <a:custGeom>
                    <a:avLst/>
                    <a:gdLst>
                      <a:gd name="T0" fmla="*/ 260 w 260"/>
                      <a:gd name="T1" fmla="*/ 168 h 266"/>
                      <a:gd name="T2" fmla="*/ 132 w 260"/>
                      <a:gd name="T3" fmla="*/ 266 h 266"/>
                      <a:gd name="T4" fmla="*/ 0 w 260"/>
                      <a:gd name="T5" fmla="*/ 133 h 266"/>
                      <a:gd name="T6" fmla="*/ 132 w 260"/>
                      <a:gd name="T7" fmla="*/ 0 h 266"/>
                      <a:gd name="T8" fmla="*/ 206 w 260"/>
                      <a:gd name="T9" fmla="*/ 23 h 2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0" h="266">
                        <a:moveTo>
                          <a:pt x="260" y="168"/>
                        </a:moveTo>
                        <a:cubicBezTo>
                          <a:pt x="245" y="224"/>
                          <a:pt x="193" y="266"/>
                          <a:pt x="132" y="266"/>
                        </a:cubicBezTo>
                        <a:cubicBezTo>
                          <a:pt x="59" y="266"/>
                          <a:pt x="0" y="206"/>
                          <a:pt x="0" y="133"/>
                        </a:cubicBezTo>
                        <a:cubicBezTo>
                          <a:pt x="0" y="60"/>
                          <a:pt x="59" y="0"/>
                          <a:pt x="132" y="0"/>
                        </a:cubicBezTo>
                        <a:cubicBezTo>
                          <a:pt x="160" y="0"/>
                          <a:pt x="185" y="9"/>
                          <a:pt x="206" y="23"/>
                        </a:cubicBezTo>
                      </a:path>
                    </a:pathLst>
                  </a:cu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Line 24">
                    <a:extLst>
                      <a:ext uri="{FF2B5EF4-FFF2-40B4-BE49-F238E27FC236}">
                        <a16:creationId xmlns="" xmlns:a16="http://schemas.microsoft.com/office/drawing/2014/main" id="{6F53E387-57BE-4150-BA2B-25CFB8BDF70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06463" y="2124075"/>
                    <a:ext cx="139700" cy="92075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Line 25">
                    <a:extLst>
                      <a:ext uri="{FF2B5EF4-FFF2-40B4-BE49-F238E27FC236}">
                        <a16:creationId xmlns="" xmlns:a16="http://schemas.microsoft.com/office/drawing/2014/main" id="{71511633-13B0-450E-B901-E0D5FDF8E94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6463" y="2216150"/>
                    <a:ext cx="166688" cy="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" name="Line 26">
                    <a:extLst>
                      <a:ext uri="{FF2B5EF4-FFF2-40B4-BE49-F238E27FC236}">
                        <a16:creationId xmlns="" xmlns:a16="http://schemas.microsoft.com/office/drawing/2014/main" id="{9CC26BA7-888E-4489-B957-33C2C6DC332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25513" y="2105025"/>
                    <a:ext cx="55563" cy="19050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" name="Line 27">
                    <a:extLst>
                      <a:ext uri="{FF2B5EF4-FFF2-40B4-BE49-F238E27FC236}">
                        <a16:creationId xmlns="" xmlns:a16="http://schemas.microsoft.com/office/drawing/2014/main" id="{288DD468-98E7-4E29-95FF-E52436137EE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962026" y="2049463"/>
                    <a:ext cx="19050" cy="55563"/>
                  </a:xfrm>
                  <a:prstGeom prst="line">
                    <a:avLst/>
                  </a:prstGeom>
                  <a:noFill/>
                  <a:ln w="25400" cap="rnd">
                    <a:solidFill>
                      <a:srgbClr val="7AC2F9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6" name="Group 25">
                <a:extLst>
                  <a:ext uri="{FF2B5EF4-FFF2-40B4-BE49-F238E27FC236}">
                    <a16:creationId xmlns="" xmlns:a16="http://schemas.microsoft.com/office/drawing/2014/main" id="{5C30F045-AFB9-460A-A184-05C3EE6ED7FB}"/>
                  </a:ext>
                </a:extLst>
              </p:cNvPr>
              <p:cNvGrpSpPr/>
              <p:nvPr/>
            </p:nvGrpSpPr>
            <p:grpSpPr>
              <a:xfrm>
                <a:off x="539677" y="3226345"/>
                <a:ext cx="2624836" cy="785929"/>
                <a:chOff x="609240" y="3401831"/>
                <a:chExt cx="2624836" cy="785929"/>
              </a:xfrm>
            </p:grpSpPr>
            <p:grpSp>
              <p:nvGrpSpPr>
                <p:cNvPr id="29" name="Group 28">
                  <a:extLst>
                    <a:ext uri="{FF2B5EF4-FFF2-40B4-BE49-F238E27FC236}">
                      <a16:creationId xmlns="" xmlns:a16="http://schemas.microsoft.com/office/drawing/2014/main" id="{8706C0FD-04D2-4BF3-B40D-ADC6C98264F1}"/>
                    </a:ext>
                  </a:extLst>
                </p:cNvPr>
                <p:cNvGrpSpPr/>
                <p:nvPr/>
              </p:nvGrpSpPr>
              <p:grpSpPr>
                <a:xfrm>
                  <a:off x="1377055" y="3474569"/>
                  <a:ext cx="1857021" cy="713191"/>
                  <a:chOff x="1294040" y="2641244"/>
                  <a:chExt cx="1857021" cy="713191"/>
                </a:xfrm>
              </p:grpSpPr>
              <p:sp>
                <p:nvSpPr>
                  <p:cNvPr id="31" name="Rectangle 30">
                    <a:extLst>
                      <a:ext uri="{FF2B5EF4-FFF2-40B4-BE49-F238E27FC236}">
                        <a16:creationId xmlns="" xmlns:a16="http://schemas.microsoft.com/office/drawing/2014/main" id="{6355A87B-EDFB-4F83-96D5-469E3F03FC4D}"/>
                      </a:ext>
                    </a:extLst>
                  </p:cNvPr>
                  <p:cNvSpPr/>
                  <p:nvPr/>
                </p:nvSpPr>
                <p:spPr>
                  <a:xfrm>
                    <a:off x="1298189" y="2641244"/>
                    <a:ext cx="1852872" cy="279932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2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$60767k+</a:t>
                    </a:r>
                    <a:endParaRPr kumimoji="0" lang="en-US" sz="2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83D65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ea typeface="Open Sans" panose="020B0606030504020204" pitchFamily="34" charset="0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32" name="Rectangle 31">
                    <a:extLst>
                      <a:ext uri="{FF2B5EF4-FFF2-40B4-BE49-F238E27FC236}">
                        <a16:creationId xmlns="" xmlns:a16="http://schemas.microsoft.com/office/drawing/2014/main" id="{6836C00C-76EF-42CC-8403-D034698E39A2}"/>
                      </a:ext>
                    </a:extLst>
                  </p:cNvPr>
                  <p:cNvSpPr/>
                  <p:nvPr/>
                </p:nvSpPr>
                <p:spPr>
                  <a:xfrm>
                    <a:off x="1294040" y="3015881"/>
                    <a:ext cx="1050338" cy="338554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83D65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rPr>
                      <a:t>TOTAL REVENUE</a:t>
                    </a:r>
                    <a:endPara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83D65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ea typeface="Open Sans" panose="020B0606030504020204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pic>
              <p:nvPicPr>
                <p:cNvPr id="30" name="Picture 29">
                  <a:extLst>
                    <a:ext uri="{FF2B5EF4-FFF2-40B4-BE49-F238E27FC236}">
                      <a16:creationId xmlns="" xmlns:a16="http://schemas.microsoft.com/office/drawing/2014/main" id="{0145E8AE-B638-4BDF-B39F-4172DF63C91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609240" y="3401831"/>
                  <a:ext cx="605940" cy="605234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54CF042E-98D6-4BED-B93F-7CB061C08BE2}"/>
              </a:ext>
            </a:extLst>
          </p:cNvPr>
          <p:cNvSpPr txBox="1"/>
          <p:nvPr/>
        </p:nvSpPr>
        <p:spPr>
          <a:xfrm>
            <a:off x="5296343" y="2074990"/>
            <a:ext cx="47224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ct val="0"/>
              </a:spcBef>
            </a:pPr>
            <a:r>
              <a:rPr 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BOOKING</a:t>
            </a:r>
            <a:endParaRPr lang="en-US" sz="28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: Top Corners Rounded 52">
            <a:extLst>
              <a:ext uri="{FF2B5EF4-FFF2-40B4-BE49-F238E27FC236}">
                <a16:creationId xmlns="" xmlns:a16="http://schemas.microsoft.com/office/drawing/2014/main" id="{DB6CF441-580F-4D0B-B847-F587F454E7EB}"/>
              </a:ext>
            </a:extLst>
          </p:cNvPr>
          <p:cNvSpPr/>
          <p:nvPr/>
        </p:nvSpPr>
        <p:spPr>
          <a:xfrm rot="5400000">
            <a:off x="8067767" y="2332038"/>
            <a:ext cx="545197" cy="150786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8F9EB3CB-40B5-4621-9A61-28DCC4295BCC}"/>
              </a:ext>
            </a:extLst>
          </p:cNvPr>
          <p:cNvSpPr txBox="1"/>
          <p:nvPr/>
        </p:nvSpPr>
        <p:spPr>
          <a:xfrm>
            <a:off x="7729630" y="2948378"/>
            <a:ext cx="150786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-&gt; </a:t>
            </a:r>
            <a:r>
              <a:rPr lang="en-IN" sz="1600" b="1" dirty="0" smtClean="0">
                <a:latin typeface="Calibri" panose="020F0502020204030204"/>
              </a:rPr>
              <a:t>79264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2" name="Rectangle: Top Corners Rounded 52">
            <a:extLst>
              <a:ext uri="{FF2B5EF4-FFF2-40B4-BE49-F238E27FC236}">
                <a16:creationId xmlns="" xmlns:a16="http://schemas.microsoft.com/office/drawing/2014/main" id="{DB6CF441-580F-4D0B-B847-F587F454E7EB}"/>
              </a:ext>
            </a:extLst>
          </p:cNvPr>
          <p:cNvSpPr/>
          <p:nvPr/>
        </p:nvSpPr>
        <p:spPr>
          <a:xfrm rot="5400000">
            <a:off x="10354512" y="2338742"/>
            <a:ext cx="545197" cy="150786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8F9EB3CB-40B5-4621-9A61-28DCC4295BCC}"/>
              </a:ext>
            </a:extLst>
          </p:cNvPr>
          <p:cNvSpPr txBox="1"/>
          <p:nvPr/>
        </p:nvSpPr>
        <p:spPr>
          <a:xfrm>
            <a:off x="10016375" y="2955082"/>
            <a:ext cx="151223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-&gt; </a:t>
            </a:r>
            <a:r>
              <a:rPr lang="en-IN" sz="1600" b="1" noProof="0" dirty="0" smtClean="0">
                <a:latin typeface="Calibri" panose="020F0502020204030204"/>
              </a:rPr>
              <a:t>40697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54CF042E-98D6-4BED-B93F-7CB061C08BE2}"/>
              </a:ext>
            </a:extLst>
          </p:cNvPr>
          <p:cNvSpPr txBox="1"/>
          <p:nvPr/>
        </p:nvSpPr>
        <p:spPr>
          <a:xfrm>
            <a:off x="5293881" y="4318754"/>
            <a:ext cx="47224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ct val="0"/>
              </a:spcBef>
            </a:pPr>
            <a:r>
              <a:rPr 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CANCELLATION</a:t>
            </a:r>
            <a:endParaRPr lang="en-US" sz="28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: Top Corners Rounded 52">
            <a:extLst>
              <a:ext uri="{FF2B5EF4-FFF2-40B4-BE49-F238E27FC236}">
                <a16:creationId xmlns="" xmlns:a16="http://schemas.microsoft.com/office/drawing/2014/main" id="{DB6CF441-580F-4D0B-B847-F587F454E7EB}"/>
              </a:ext>
            </a:extLst>
          </p:cNvPr>
          <p:cNvSpPr/>
          <p:nvPr/>
        </p:nvSpPr>
        <p:spPr>
          <a:xfrm rot="5400000">
            <a:off x="10359300" y="4833452"/>
            <a:ext cx="545197" cy="150786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8F9EB3CB-40B5-4621-9A61-28DCC4295BCC}"/>
              </a:ext>
            </a:extLst>
          </p:cNvPr>
          <p:cNvSpPr txBox="1"/>
          <p:nvPr/>
        </p:nvSpPr>
        <p:spPr>
          <a:xfrm>
            <a:off x="10021163" y="5449792"/>
            <a:ext cx="1364671" cy="246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8-&gt; </a:t>
            </a:r>
            <a:r>
              <a:rPr lang="en-IN" sz="1600" b="1" dirty="0" smtClean="0">
                <a:latin typeface="Calibri" panose="020F0502020204030204"/>
              </a:rPr>
              <a:t>15745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7" name="Rectangle: Top Corners Rounded 52">
            <a:extLst>
              <a:ext uri="{FF2B5EF4-FFF2-40B4-BE49-F238E27FC236}">
                <a16:creationId xmlns="" xmlns:a16="http://schemas.microsoft.com/office/drawing/2014/main" id="{DB6CF441-580F-4D0B-B847-F587F454E7EB}"/>
              </a:ext>
            </a:extLst>
          </p:cNvPr>
          <p:cNvSpPr/>
          <p:nvPr/>
        </p:nvSpPr>
        <p:spPr>
          <a:xfrm rot="5400000">
            <a:off x="8069040" y="4833452"/>
            <a:ext cx="545197" cy="150786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8F9EB3CB-40B5-4621-9A61-28DCC4295BCC}"/>
              </a:ext>
            </a:extLst>
          </p:cNvPr>
          <p:cNvSpPr txBox="1"/>
          <p:nvPr/>
        </p:nvSpPr>
        <p:spPr>
          <a:xfrm>
            <a:off x="7730903" y="5449792"/>
            <a:ext cx="1364671" cy="246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8-&gt; </a:t>
            </a:r>
            <a:r>
              <a:rPr lang="en-IN" sz="1600" b="1" dirty="0" smtClean="0">
                <a:latin typeface="Calibri" panose="020F0502020204030204"/>
              </a:rPr>
              <a:t>28952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9" name="Rectangle: Top Corners Rounded 52">
            <a:extLst>
              <a:ext uri="{FF2B5EF4-FFF2-40B4-BE49-F238E27FC236}">
                <a16:creationId xmlns="" xmlns:a16="http://schemas.microsoft.com/office/drawing/2014/main" id="{DB6CF441-580F-4D0B-B847-F587F454E7EB}"/>
              </a:ext>
            </a:extLst>
          </p:cNvPr>
          <p:cNvSpPr/>
          <p:nvPr/>
        </p:nvSpPr>
        <p:spPr>
          <a:xfrm rot="5400000">
            <a:off x="5777672" y="4833452"/>
            <a:ext cx="545197" cy="150786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8F9EB3CB-40B5-4621-9A61-28DCC4295BCC}"/>
              </a:ext>
            </a:extLst>
          </p:cNvPr>
          <p:cNvSpPr txBox="1"/>
          <p:nvPr/>
        </p:nvSpPr>
        <p:spPr>
          <a:xfrm>
            <a:off x="5439535" y="5449792"/>
            <a:ext cx="1364671" cy="246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8-&gt; </a:t>
            </a:r>
            <a:r>
              <a:rPr lang="en-IN" sz="1600" b="1" dirty="0" smtClean="0">
                <a:latin typeface="Calibri" panose="020F0502020204030204"/>
              </a:rPr>
              <a:t>8142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50640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44364467-A470-4435-A0A0-F2E609A778D1}"/>
              </a:ext>
            </a:extLst>
          </p:cNvPr>
          <p:cNvSpPr/>
          <p:nvPr/>
        </p:nvSpPr>
        <p:spPr>
          <a:xfrm>
            <a:off x="2732747" y="530093"/>
            <a:ext cx="846398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S HOTEL REVENUE INCREASING YEAR ON YEAR ?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6" name="Rounded Rectangle 109">
            <a:extLst>
              <a:ext uri="{FF2B5EF4-FFF2-40B4-BE49-F238E27FC236}">
                <a16:creationId xmlns="" xmlns:a16="http://schemas.microsoft.com/office/drawing/2014/main" id="{8FA59289-3DC6-4B30-B896-76556CF09AED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83071549-476C-4AC8-AF1B-92D78A6B097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E884C86F-09AC-43F3-99B9-CE0BE4E56E5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67C8EC14-81AE-4EF2-8920-3E2150FD5B94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aphicFrame>
        <p:nvGraphicFramePr>
          <p:cNvPr id="102" name="Chart 10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0468609"/>
              </p:ext>
            </p:extLst>
          </p:nvPr>
        </p:nvGraphicFramePr>
        <p:xfrm>
          <a:off x="64096" y="1283210"/>
          <a:ext cx="9797080" cy="55356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9982199" y="1564668"/>
            <a:ext cx="208877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hotel's revenue experienced </a:t>
            </a:r>
            <a:r>
              <a:rPr lang="en-US" b="1" dirty="0">
                <a:solidFill>
                  <a:srgbClr val="00B050"/>
                </a:solidFill>
              </a:rPr>
              <a:t>significant growth </a:t>
            </a:r>
            <a:r>
              <a:rPr lang="en-US" dirty="0"/>
              <a:t>from 2018 to 2019 but </a:t>
            </a:r>
            <a:r>
              <a:rPr lang="en-US" b="1" dirty="0">
                <a:solidFill>
                  <a:srgbClr val="FF0000"/>
                </a:solidFill>
              </a:rPr>
              <a:t>declined</a:t>
            </a:r>
            <a:r>
              <a:rPr lang="en-US" b="1" dirty="0"/>
              <a:t> </a:t>
            </a:r>
            <a:r>
              <a:rPr lang="en-US" dirty="0"/>
              <a:t>in 2020, indicating a </a:t>
            </a:r>
            <a:r>
              <a:rPr lang="en-US" b="1" dirty="0">
                <a:solidFill>
                  <a:srgbClr val="FF0000"/>
                </a:solidFill>
              </a:rPr>
              <a:t>non-consistent</a:t>
            </a:r>
            <a:r>
              <a:rPr lang="en-US" dirty="0"/>
              <a:t> year-on-year trend.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2072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44364467-A470-4435-A0A0-F2E609A778D1}"/>
              </a:ext>
            </a:extLst>
          </p:cNvPr>
          <p:cNvSpPr/>
          <p:nvPr/>
        </p:nvSpPr>
        <p:spPr>
          <a:xfrm>
            <a:off x="354563" y="320112"/>
            <a:ext cx="11066107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smtClean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MARKET SEGMENT ARE MAJOR CONTRIBUTORSOF THE REVENUE PER YEAR? IS THERE CHANGEBIN YEAR ON YEAR ?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6" name="Rounded Rectangle 109">
            <a:extLst>
              <a:ext uri="{FF2B5EF4-FFF2-40B4-BE49-F238E27FC236}">
                <a16:creationId xmlns="" xmlns:a16="http://schemas.microsoft.com/office/drawing/2014/main" id="{8FA59289-3DC6-4B30-B896-76556CF09AED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83071549-476C-4AC8-AF1B-92D78A6B097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E884C86F-09AC-43F3-99B9-CE0BE4E56E5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67C8EC14-81AE-4EF2-8920-3E2150FD5B94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9982199" y="1564668"/>
            <a:ext cx="208877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Online </a:t>
            </a:r>
            <a:r>
              <a:rPr lang="en-US" b="1" dirty="0"/>
              <a:t>TA </a:t>
            </a:r>
            <a:r>
              <a:rPr lang="en-US" dirty="0"/>
              <a:t>consistently led in </a:t>
            </a:r>
            <a:r>
              <a:rPr lang="en-US" b="1" dirty="0">
                <a:solidFill>
                  <a:srgbClr val="00B050"/>
                </a:solidFill>
              </a:rPr>
              <a:t>contributing</a:t>
            </a:r>
            <a:r>
              <a:rPr lang="en-US" dirty="0"/>
              <a:t> to hotel revenue, followed by </a:t>
            </a:r>
            <a:r>
              <a:rPr lang="en-US" b="1" dirty="0"/>
              <a:t>Offline TA/TO </a:t>
            </a:r>
            <a:r>
              <a:rPr lang="en-US" dirty="0"/>
              <a:t>and </a:t>
            </a:r>
            <a:r>
              <a:rPr lang="en-US" b="1" dirty="0"/>
              <a:t>Groups</a:t>
            </a:r>
            <a:r>
              <a:rPr lang="en-US" dirty="0"/>
              <a:t>; however, "</a:t>
            </a:r>
            <a:r>
              <a:rPr lang="en-US" b="1" dirty="0"/>
              <a:t>Direct</a:t>
            </a:r>
            <a:r>
              <a:rPr lang="en-US" dirty="0"/>
              <a:t>" emerged as </a:t>
            </a:r>
            <a:r>
              <a:rPr lang="en-US" b="1" dirty="0">
                <a:solidFill>
                  <a:srgbClr val="00B050"/>
                </a:solidFill>
              </a:rPr>
              <a:t>significant contributors </a:t>
            </a:r>
            <a:r>
              <a:rPr lang="en-US" dirty="0"/>
              <a:t>in 2020</a:t>
            </a:r>
            <a:endParaRPr lang="en-IN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1371404"/>
              </p:ext>
            </p:extLst>
          </p:nvPr>
        </p:nvGraphicFramePr>
        <p:xfrm>
          <a:off x="5477069" y="3788229"/>
          <a:ext cx="5477067" cy="2992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1031948"/>
              </p:ext>
            </p:extLst>
          </p:nvPr>
        </p:nvGraphicFramePr>
        <p:xfrm>
          <a:off x="951722" y="3932136"/>
          <a:ext cx="3545633" cy="26832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4437375"/>
              </p:ext>
            </p:extLst>
          </p:nvPr>
        </p:nvGraphicFramePr>
        <p:xfrm>
          <a:off x="2192695" y="1178748"/>
          <a:ext cx="6727370" cy="2689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84314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44364467-A470-4435-A0A0-F2E609A778D1}"/>
              </a:ext>
            </a:extLst>
          </p:cNvPr>
          <p:cNvSpPr/>
          <p:nvPr/>
        </p:nvSpPr>
        <p:spPr>
          <a:xfrm>
            <a:off x="2397967" y="530093"/>
            <a:ext cx="8798768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smtClean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EN IS THE HOTEL AT MAXIMUM OCCUPANCY 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? IS THE PERIOD CONSISTENT ACROSS THE YEAR?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6" name="Rounded Rectangle 109">
            <a:extLst>
              <a:ext uri="{FF2B5EF4-FFF2-40B4-BE49-F238E27FC236}">
                <a16:creationId xmlns="" xmlns:a16="http://schemas.microsoft.com/office/drawing/2014/main" id="{8FA59289-3DC6-4B30-B896-76556CF09AED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83071549-476C-4AC8-AF1B-92D78A6B097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E884C86F-09AC-43F3-99B9-CE0BE4E56E5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67C8EC14-81AE-4EF2-8920-3E2150FD5B94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9982199" y="1564668"/>
            <a:ext cx="22098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*In </a:t>
            </a:r>
            <a:r>
              <a:rPr lang="en-US" dirty="0"/>
              <a:t>2020, although the number of maximum occupancy </a:t>
            </a:r>
            <a:r>
              <a:rPr lang="en-US" b="1" dirty="0">
                <a:solidFill>
                  <a:srgbClr val="FF0000"/>
                </a:solidFill>
              </a:rPr>
              <a:t>decreased</a:t>
            </a:r>
            <a:r>
              <a:rPr lang="en-US" dirty="0"/>
              <a:t> compared to 2019, it remained </a:t>
            </a:r>
            <a:r>
              <a:rPr lang="en-US" b="1" dirty="0">
                <a:solidFill>
                  <a:srgbClr val="00B050"/>
                </a:solidFill>
              </a:rPr>
              <a:t>higher </a:t>
            </a:r>
            <a:r>
              <a:rPr lang="en-US" dirty="0"/>
              <a:t>than the 2018 levels</a:t>
            </a:r>
            <a:r>
              <a:rPr lang="en-US" dirty="0" smtClean="0"/>
              <a:t>.</a:t>
            </a:r>
          </a:p>
          <a:p>
            <a:r>
              <a:rPr lang="en-US" dirty="0" smtClean="0"/>
              <a:t>*</a:t>
            </a:r>
            <a:r>
              <a:rPr lang="en-US" dirty="0"/>
              <a:t>October consistently had </a:t>
            </a:r>
            <a:r>
              <a:rPr lang="en-US" b="1" dirty="0">
                <a:solidFill>
                  <a:srgbClr val="00B050"/>
                </a:solidFill>
              </a:rPr>
              <a:t>high</a:t>
            </a:r>
            <a:r>
              <a:rPr lang="en-US" dirty="0"/>
              <a:t> occupancy in both 2018 and 2019</a:t>
            </a:r>
            <a:endParaRPr lang="en-US" dirty="0" smtClean="0"/>
          </a:p>
          <a:p>
            <a:endParaRPr lang="en-IN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5170308"/>
              </p:ext>
            </p:extLst>
          </p:nvPr>
        </p:nvGraphicFramePr>
        <p:xfrm>
          <a:off x="5297300" y="1705572"/>
          <a:ext cx="4572000" cy="3093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9051394"/>
              </p:ext>
            </p:extLst>
          </p:nvPr>
        </p:nvGraphicFramePr>
        <p:xfrm>
          <a:off x="121298" y="2029414"/>
          <a:ext cx="5176002" cy="4679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418599" y="4799571"/>
            <a:ext cx="28349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tel occupancy experienced significant </a:t>
            </a:r>
            <a:r>
              <a:rPr lang="en-US" b="1" dirty="0">
                <a:solidFill>
                  <a:srgbClr val="00B050"/>
                </a:solidFill>
              </a:rPr>
              <a:t>growth</a:t>
            </a:r>
            <a:r>
              <a:rPr lang="en-US" dirty="0"/>
              <a:t> from 2018 to 2019, with a </a:t>
            </a:r>
            <a:r>
              <a:rPr lang="en-US" b="1" dirty="0" smtClean="0">
                <a:solidFill>
                  <a:srgbClr val="FF0000"/>
                </a:solidFill>
              </a:rPr>
              <a:t>reduction</a:t>
            </a:r>
            <a:r>
              <a:rPr lang="en-US" dirty="0" smtClean="0"/>
              <a:t> </a:t>
            </a:r>
            <a:r>
              <a:rPr lang="en-US" dirty="0"/>
              <a:t>in 2020, indicating </a:t>
            </a:r>
            <a:r>
              <a:rPr lang="en-US" b="1" dirty="0" smtClean="0"/>
              <a:t>fluctuation</a:t>
            </a:r>
            <a:r>
              <a:rPr lang="en-US" dirty="0" smtClean="0"/>
              <a:t> </a:t>
            </a:r>
            <a:r>
              <a:rPr lang="en-US" dirty="0"/>
              <a:t>in </a:t>
            </a:r>
            <a:r>
              <a:rPr lang="en-US" dirty="0" smtClean="0"/>
              <a:t>occupancy across every year.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53882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44364467-A470-4435-A0A0-F2E609A778D1}"/>
              </a:ext>
            </a:extLst>
          </p:cNvPr>
          <p:cNvSpPr/>
          <p:nvPr/>
        </p:nvSpPr>
        <p:spPr>
          <a:xfrm>
            <a:off x="2732747" y="530093"/>
            <a:ext cx="846398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HEN ARE PEOPLE CANCELLING THE MOST 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?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6" name="Rounded Rectangle 109">
            <a:extLst>
              <a:ext uri="{FF2B5EF4-FFF2-40B4-BE49-F238E27FC236}">
                <a16:creationId xmlns="" xmlns:a16="http://schemas.microsoft.com/office/drawing/2014/main" id="{8FA59289-3DC6-4B30-B896-76556CF09AED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83071549-476C-4AC8-AF1B-92D78A6B097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E884C86F-09AC-43F3-99B9-CE0BE4E56E5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67C8EC14-81AE-4EF2-8920-3E2150FD5B94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9982199" y="1564668"/>
            <a:ext cx="2088777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*In </a:t>
            </a:r>
            <a:r>
              <a:rPr lang="en-US" b="1" dirty="0"/>
              <a:t>2018</a:t>
            </a:r>
            <a:r>
              <a:rPr lang="en-US" dirty="0"/>
              <a:t>, the </a:t>
            </a:r>
            <a:r>
              <a:rPr lang="en-US" b="1" dirty="0">
                <a:solidFill>
                  <a:srgbClr val="00B050"/>
                </a:solidFill>
              </a:rPr>
              <a:t>highest</a:t>
            </a:r>
            <a:r>
              <a:rPr lang="en-US" dirty="0"/>
              <a:t> cancellations occurred in September, August, and October.</a:t>
            </a:r>
          </a:p>
          <a:p>
            <a:r>
              <a:rPr lang="en-US" dirty="0" smtClean="0"/>
              <a:t>*In </a:t>
            </a:r>
            <a:r>
              <a:rPr lang="en-US" b="1" dirty="0"/>
              <a:t>2019</a:t>
            </a:r>
            <a:r>
              <a:rPr lang="en-US" dirty="0"/>
              <a:t>, the </a:t>
            </a:r>
            <a:r>
              <a:rPr lang="en-US" b="1" dirty="0">
                <a:solidFill>
                  <a:srgbClr val="00B050"/>
                </a:solidFill>
              </a:rPr>
              <a:t>peak </a:t>
            </a:r>
            <a:r>
              <a:rPr lang="en-US" dirty="0"/>
              <a:t>cancellations shifted to October, followed by August and September.</a:t>
            </a:r>
          </a:p>
          <a:p>
            <a:r>
              <a:rPr lang="en-US" dirty="0" smtClean="0"/>
              <a:t>*In </a:t>
            </a:r>
            <a:r>
              <a:rPr lang="en-US" b="1" dirty="0"/>
              <a:t>2020</a:t>
            </a:r>
            <a:r>
              <a:rPr lang="en-US" dirty="0"/>
              <a:t>, May recorded the </a:t>
            </a:r>
            <a:r>
              <a:rPr lang="en-US" b="1" dirty="0">
                <a:solidFill>
                  <a:srgbClr val="00B050"/>
                </a:solidFill>
              </a:rPr>
              <a:t>highest</a:t>
            </a:r>
            <a:r>
              <a:rPr lang="en-US" dirty="0"/>
              <a:t> cancellations, followed by April and June.</a:t>
            </a: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7254105"/>
              </p:ext>
            </p:extLst>
          </p:nvPr>
        </p:nvGraphicFramePr>
        <p:xfrm>
          <a:off x="5367090" y="1564668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2503787"/>
              </p:ext>
            </p:extLst>
          </p:nvPr>
        </p:nvGraphicFramePr>
        <p:xfrm>
          <a:off x="98404" y="1255386"/>
          <a:ext cx="5268686" cy="55177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465495" y="4941425"/>
            <a:ext cx="308227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tel booking cancellations experienced a significant </a:t>
            </a:r>
            <a:r>
              <a:rPr lang="en-US" b="1" dirty="0">
                <a:solidFill>
                  <a:srgbClr val="00B050"/>
                </a:solidFill>
              </a:rPr>
              <a:t>increase</a:t>
            </a:r>
            <a:r>
              <a:rPr lang="en-US" dirty="0"/>
              <a:t> from 2018 to 2019, followed by a </a:t>
            </a:r>
            <a:r>
              <a:rPr lang="en-US" b="1" dirty="0">
                <a:solidFill>
                  <a:srgbClr val="FF0000"/>
                </a:solidFill>
              </a:rPr>
              <a:t>reduction</a:t>
            </a:r>
            <a:r>
              <a:rPr lang="en-US" dirty="0"/>
              <a:t> in 2020, </a:t>
            </a:r>
            <a:r>
              <a:rPr lang="en-US" dirty="0" smtClean="0"/>
              <a:t>influenced </a:t>
            </a:r>
            <a:r>
              <a:rPr lang="en-US" dirty="0"/>
              <a:t>by </a:t>
            </a:r>
            <a:r>
              <a:rPr lang="en-US" b="1" dirty="0"/>
              <a:t>external factors</a:t>
            </a:r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260073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44364467-A470-4435-A0A0-F2E609A778D1}"/>
              </a:ext>
            </a:extLst>
          </p:cNvPr>
          <p:cNvSpPr/>
          <p:nvPr/>
        </p:nvSpPr>
        <p:spPr>
          <a:xfrm>
            <a:off x="2732747" y="530093"/>
            <a:ext cx="8463988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RE FAMILIES WITH KIDS MORE LIKELY TO CANCEL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BOOKING ?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6" name="Rounded Rectangle 109">
            <a:extLst>
              <a:ext uri="{FF2B5EF4-FFF2-40B4-BE49-F238E27FC236}">
                <a16:creationId xmlns="" xmlns:a16="http://schemas.microsoft.com/office/drawing/2014/main" id="{8FA59289-3DC6-4B30-B896-76556CF09AED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83071549-476C-4AC8-AF1B-92D78A6B097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E884C86F-09AC-43F3-99B9-CE0BE4E56E5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67C8EC14-81AE-4EF2-8920-3E2150FD5B94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0217833" y="4546394"/>
            <a:ext cx="208877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amilies </a:t>
            </a:r>
            <a:r>
              <a:rPr lang="en-US" b="1" dirty="0"/>
              <a:t>without kids </a:t>
            </a:r>
            <a:r>
              <a:rPr lang="en-US" dirty="0"/>
              <a:t>had a </a:t>
            </a:r>
            <a:r>
              <a:rPr lang="en-US" b="1" dirty="0">
                <a:solidFill>
                  <a:srgbClr val="00B050"/>
                </a:solidFill>
              </a:rPr>
              <a:t>slightly higher </a:t>
            </a:r>
            <a:r>
              <a:rPr lang="en-US" dirty="0"/>
              <a:t>cancellation rate </a:t>
            </a:r>
            <a:r>
              <a:rPr lang="en-US" dirty="0" smtClean="0"/>
              <a:t>(53%) </a:t>
            </a:r>
            <a:r>
              <a:rPr lang="en-US" dirty="0"/>
              <a:t>compared to families with </a:t>
            </a:r>
            <a:r>
              <a:rPr lang="en-US" b="1" dirty="0"/>
              <a:t>kids</a:t>
            </a:r>
            <a:r>
              <a:rPr lang="en-US" dirty="0"/>
              <a:t> </a:t>
            </a:r>
            <a:r>
              <a:rPr lang="en-US" dirty="0" smtClean="0"/>
              <a:t>(47%).</a:t>
            </a:r>
            <a:endParaRPr lang="en-IN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6143747"/>
              </p:ext>
            </p:extLst>
          </p:nvPr>
        </p:nvGraphicFramePr>
        <p:xfrm>
          <a:off x="114610" y="1786899"/>
          <a:ext cx="5912966" cy="4109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9641759"/>
              </p:ext>
            </p:extLst>
          </p:nvPr>
        </p:nvGraphicFramePr>
        <p:xfrm>
          <a:off x="5652795" y="2006857"/>
          <a:ext cx="4572000" cy="3477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715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FD5EF81B-6EAA-47D1-B3B4-5CACFD853C54}"/>
              </a:ext>
            </a:extLst>
          </p:cNvPr>
          <p:cNvGrpSpPr/>
          <p:nvPr/>
        </p:nvGrpSpPr>
        <p:grpSpPr>
          <a:xfrm>
            <a:off x="0" y="0"/>
            <a:ext cx="10658764" cy="5955766"/>
            <a:chOff x="0" y="0"/>
            <a:chExt cx="7581900" cy="5955766"/>
          </a:xfrm>
          <a:effectLst>
            <a:outerShdw blurRad="419100" dist="660400" dir="2700000" sx="93000" sy="93000" algn="tl" rotWithShape="0">
              <a:prstClr val="black">
                <a:alpha val="40000"/>
              </a:prstClr>
            </a:outerShdw>
          </a:effectLst>
        </p:grpSpPr>
        <p:pic>
          <p:nvPicPr>
            <p:cNvPr id="4" name="Picture 3" descr="A view of a living room with a bed and a window&#10;&#10;Description automatically generated">
              <a:extLst>
                <a:ext uri="{FF2B5EF4-FFF2-40B4-BE49-F238E27FC236}">
                  <a16:creationId xmlns="" xmlns:a16="http://schemas.microsoft.com/office/drawing/2014/main" id="{D3FF2968-8506-42B8-A886-1C8C97BDC7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7581900" cy="5955766"/>
            </a:xfrm>
            <a:prstGeom prst="rect">
              <a:avLst/>
            </a:prstGeom>
            <a:noFill/>
          </p:spPr>
        </p:pic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A71EDFE8-1811-42A9-8CBB-783AD53858A3}"/>
                </a:ext>
              </a:extLst>
            </p:cNvPr>
            <p:cNvSpPr/>
            <p:nvPr/>
          </p:nvSpPr>
          <p:spPr>
            <a:xfrm>
              <a:off x="0" y="0"/>
              <a:ext cx="7581900" cy="5955766"/>
            </a:xfrm>
            <a:prstGeom prst="rect">
              <a:avLst/>
            </a:prstGeom>
            <a:gradFill>
              <a:gsLst>
                <a:gs pos="0">
                  <a:srgbClr val="029EAD">
                    <a:alpha val="69000"/>
                  </a:srgbClr>
                </a:gs>
                <a:gs pos="100000">
                  <a:srgbClr val="00608F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FEA50AB8-DB95-494E-B712-7E4409414FEE}"/>
              </a:ext>
            </a:extLst>
          </p:cNvPr>
          <p:cNvSpPr txBox="1">
            <a:spLocks/>
          </p:cNvSpPr>
          <p:nvPr/>
        </p:nvSpPr>
        <p:spPr>
          <a:xfrm>
            <a:off x="1415028" y="1384081"/>
            <a:ext cx="4852424" cy="204491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6000" b="1" dirty="0">
                <a:solidFill>
                  <a:schemeClr val="bg1"/>
                </a:solidFill>
                <a:latin typeface="Arial" panose="020B0604020202020204" pitchFamily="34" charset="0"/>
                <a:ea typeface="Source Sans Pro Black" panose="020B0803030403020204" pitchFamily="34" charset="0"/>
                <a:cs typeface="Arial" panose="020B0604020202020204" pitchFamily="34" charset="0"/>
              </a:rPr>
              <a:t>THANK</a:t>
            </a:r>
          </a:p>
          <a:p>
            <a:pPr>
              <a:lnSpc>
                <a:spcPct val="110000"/>
              </a:lnSpc>
            </a:pPr>
            <a:r>
              <a:rPr lang="en-US" sz="6000" b="1" dirty="0">
                <a:solidFill>
                  <a:schemeClr val="bg1"/>
                </a:solidFill>
                <a:latin typeface="Arial" panose="020B0604020202020204" pitchFamily="34" charset="0"/>
                <a:ea typeface="Source Sans Pro Black" panose="020B0803030403020204" pitchFamily="34" charset="0"/>
                <a:cs typeface="Arial" panose="020B0604020202020204" pitchFamily="34" charset="0"/>
              </a:rPr>
              <a:t>YOU!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ED0BBFAA-B4FB-4DD8-A491-428F0DBC055F}"/>
              </a:ext>
            </a:extLst>
          </p:cNvPr>
          <p:cNvGrpSpPr/>
          <p:nvPr/>
        </p:nvGrpSpPr>
        <p:grpSpPr>
          <a:xfrm>
            <a:off x="6641292" y="5015158"/>
            <a:ext cx="940608" cy="940608"/>
            <a:chOff x="4863696" y="4907004"/>
            <a:chExt cx="940608" cy="940608"/>
          </a:xfrm>
        </p:grpSpPr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E8B05C55-CB14-4E8E-9EE4-33DC9E73F390}"/>
                </a:ext>
              </a:extLst>
            </p:cNvPr>
            <p:cNvSpPr/>
            <p:nvPr/>
          </p:nvSpPr>
          <p:spPr>
            <a:xfrm>
              <a:off x="4863696" y="4907004"/>
              <a:ext cx="940608" cy="94060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762000" dist="190500" dir="5400000" sx="95000" sy="95000" algn="ctr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270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="" xmlns:a16="http://schemas.microsoft.com/office/drawing/2014/main" id="{A4487631-4234-42DA-BD9C-FB13DB9DADAA}"/>
                </a:ext>
              </a:extLst>
            </p:cNvPr>
            <p:cNvGrpSpPr/>
            <p:nvPr/>
          </p:nvGrpSpPr>
          <p:grpSpPr>
            <a:xfrm>
              <a:off x="5160963" y="5205064"/>
              <a:ext cx="346075" cy="344488"/>
              <a:chOff x="3398838" y="4310011"/>
              <a:chExt cx="346075" cy="344488"/>
            </a:xfrm>
          </p:grpSpPr>
          <p:sp>
            <p:nvSpPr>
              <p:cNvPr id="14" name="Freeform 461">
                <a:extLst>
                  <a:ext uri="{FF2B5EF4-FFF2-40B4-BE49-F238E27FC236}">
                    <a16:creationId xmlns="" xmlns:a16="http://schemas.microsoft.com/office/drawing/2014/main" id="{74C8078D-A762-4B59-AB4A-CB535E523C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838" y="4310011"/>
                <a:ext cx="173038" cy="344488"/>
              </a:xfrm>
              <a:custGeom>
                <a:avLst/>
                <a:gdLst>
                  <a:gd name="T0" fmla="*/ 0 w 109"/>
                  <a:gd name="T1" fmla="*/ 0 h 217"/>
                  <a:gd name="T2" fmla="*/ 109 w 109"/>
                  <a:gd name="T3" fmla="*/ 108 h 217"/>
                  <a:gd name="T4" fmla="*/ 0 w 109"/>
                  <a:gd name="T5" fmla="*/ 217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9" h="217">
                    <a:moveTo>
                      <a:pt x="0" y="0"/>
                    </a:moveTo>
                    <a:lnTo>
                      <a:pt x="109" y="108"/>
                    </a:lnTo>
                    <a:lnTo>
                      <a:pt x="0" y="217"/>
                    </a:lnTo>
                  </a:path>
                </a:pathLst>
              </a:custGeom>
              <a:noFill/>
              <a:ln w="14288" cap="rnd">
                <a:solidFill>
                  <a:srgbClr val="029EAD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" name="Freeform 462">
                <a:extLst>
                  <a:ext uri="{FF2B5EF4-FFF2-40B4-BE49-F238E27FC236}">
                    <a16:creationId xmlns="" xmlns:a16="http://schemas.microsoft.com/office/drawing/2014/main" id="{AB68BE85-7ED5-45B4-AAE1-4AEF8298A9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1875" y="4310011"/>
                <a:ext cx="173038" cy="344488"/>
              </a:xfrm>
              <a:custGeom>
                <a:avLst/>
                <a:gdLst>
                  <a:gd name="T0" fmla="*/ 0 w 109"/>
                  <a:gd name="T1" fmla="*/ 0 h 217"/>
                  <a:gd name="T2" fmla="*/ 109 w 109"/>
                  <a:gd name="T3" fmla="*/ 108 h 217"/>
                  <a:gd name="T4" fmla="*/ 0 w 109"/>
                  <a:gd name="T5" fmla="*/ 217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9" h="217">
                    <a:moveTo>
                      <a:pt x="0" y="0"/>
                    </a:moveTo>
                    <a:lnTo>
                      <a:pt x="109" y="108"/>
                    </a:lnTo>
                    <a:lnTo>
                      <a:pt x="0" y="217"/>
                    </a:lnTo>
                  </a:path>
                </a:pathLst>
              </a:custGeom>
              <a:noFill/>
              <a:ln w="14288" cap="rnd">
                <a:solidFill>
                  <a:srgbClr val="029EAD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6580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9</TotalTime>
  <Words>370</Words>
  <Application>Microsoft Office PowerPoint</Application>
  <PresentationFormat>Widescreen</PresentationFormat>
  <Paragraphs>68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Arial</vt:lpstr>
      <vt:lpstr>Arial Black</vt:lpstr>
      <vt:lpstr>Calibri</vt:lpstr>
      <vt:lpstr>Calibri Light</vt:lpstr>
      <vt:lpstr>Georgia</vt:lpstr>
      <vt:lpstr>Open Sans</vt:lpstr>
      <vt:lpstr>Segoe UI</vt:lpstr>
      <vt:lpstr>Source Sans Pro</vt:lpstr>
      <vt:lpstr>Source Sans Pro Black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11</dc:creator>
  <cp:lastModifiedBy>Microsoft account</cp:lastModifiedBy>
  <cp:revision>67</cp:revision>
  <dcterms:created xsi:type="dcterms:W3CDTF">2020-11-19T07:35:13Z</dcterms:created>
  <dcterms:modified xsi:type="dcterms:W3CDTF">2023-10-18T04:55:56Z</dcterms:modified>
</cp:coreProperties>
</file>